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 id="2147483754" r:id="rId6"/>
  </p:sldMasterIdLst>
  <p:notesMasterIdLst>
    <p:notesMasterId r:id="rId9"/>
  </p:notesMasterIdLst>
  <p:sldIdLst>
    <p:sldId id="2146847097" r:id="rId7"/>
    <p:sldId id="2146847101"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urav Dhakar" initials="GD" lastIdx="1" clrIdx="0">
    <p:extLst>
      <p:ext uri="{19B8F6BF-5375-455C-9EA6-DF929625EA0E}">
        <p15:presenceInfo xmlns:p15="http://schemas.microsoft.com/office/powerpoint/2012/main" userId="S::gaurav_dhakar@persistent.com::0f95d4be-579e-4d1f-a5a0-196cf30539f1" providerId="AD"/>
      </p:ext>
    </p:extLst>
  </p:cmAuthor>
  <p:cmAuthor id="2" name="Debasish Nayak" initials="DN" lastIdx="2" clrIdx="1">
    <p:extLst>
      <p:ext uri="{19B8F6BF-5375-455C-9EA6-DF929625EA0E}">
        <p15:presenceInfo xmlns:p15="http://schemas.microsoft.com/office/powerpoint/2012/main" userId="S::debasish_nayak1@persistent.com::6b5b0c66-0123-44f5-bb26-91a1fcbf35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41" autoAdjust="0"/>
    <p:restoredTop sz="93792" autoAdjust="0"/>
  </p:normalViewPr>
  <p:slideViewPr>
    <p:cSldViewPr snapToGrid="0">
      <p:cViewPr>
        <p:scale>
          <a:sx n="108" d="100"/>
          <a:sy n="108" d="100"/>
        </p:scale>
        <p:origin x="696" y="344"/>
      </p:cViewPr>
      <p:guideLst/>
    </p:cSldViewPr>
  </p:slideViewPr>
  <p:notesTextViewPr>
    <p:cViewPr>
      <p:scale>
        <a:sx n="1" d="1"/>
        <a:sy n="1" d="1"/>
      </p:scale>
      <p:origin x="0" y="0"/>
    </p:cViewPr>
  </p:notesTextViewPr>
  <p:sorterViewPr>
    <p:cViewPr>
      <p:scale>
        <a:sx n="33" d="100"/>
        <a:sy n="33"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8C0F25-BAC9-4CEA-AD1B-2D3CFE196044}" type="datetimeFigureOut">
              <a:rPr lang="en-US" smtClean="0"/>
              <a:t>9/12/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1863F1-B1D5-4F3E-887B-7F94EAFF540F}" type="slidenum">
              <a:rPr lang="en-US" smtClean="0"/>
              <a:t>‹#›</a:t>
            </a:fld>
            <a:endParaRPr lang="en-US"/>
          </a:p>
        </p:txBody>
      </p:sp>
    </p:spTree>
    <p:extLst>
      <p:ext uri="{BB962C8B-B14F-4D97-AF65-F5344CB8AC3E}">
        <p14:creationId xmlns:p14="http://schemas.microsoft.com/office/powerpoint/2010/main" val="22346509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0" i="0" dirty="0">
                <a:solidFill>
                  <a:srgbClr val="FFFFFF"/>
                </a:solidFill>
                <a:effectLst/>
                <a:latin typeface="source_sans_prolight"/>
              </a:rPr>
              <a:t>Topic Analysis</a:t>
            </a:r>
          </a:p>
          <a:p>
            <a:pPr algn="l">
              <a:buFont typeface="Arial" panose="020B0604020202020204" pitchFamily="34" charset="0"/>
              <a:buChar char="•"/>
            </a:pPr>
            <a:r>
              <a:rPr lang="en-US" b="0" i="0" dirty="0">
                <a:solidFill>
                  <a:srgbClr val="FFFFFF"/>
                </a:solidFill>
                <a:effectLst/>
                <a:latin typeface="source_sans_prolight"/>
              </a:rPr>
              <a:t>Each transcript is processed through a topic analysis to identify top topics mentioned most frequently and categorizing each topic.</a:t>
            </a:r>
          </a:p>
          <a:p>
            <a:pPr algn="l">
              <a:buFont typeface="Arial" panose="020B0604020202020204" pitchFamily="34" charset="0"/>
              <a:buChar char="•"/>
            </a:pPr>
            <a:r>
              <a:rPr lang="en-US" b="0" i="0" dirty="0">
                <a:solidFill>
                  <a:srgbClr val="FFFFFF"/>
                </a:solidFill>
                <a:effectLst/>
                <a:latin typeface="source_sans_prolight"/>
              </a:rPr>
              <a:t>- Counts are aggregated by topic category, including: ESG, Payout, Growth, Capital Structure, Capital Efficiency, Valuation, and Other.</a:t>
            </a:r>
          </a:p>
          <a:p>
            <a:pPr algn="l">
              <a:buFont typeface="Arial" panose="020B0604020202020204" pitchFamily="34" charset="0"/>
              <a:buChar char="•"/>
            </a:pPr>
            <a:r>
              <a:rPr lang="en-US" b="1" i="0" dirty="0">
                <a:solidFill>
                  <a:srgbClr val="171717"/>
                </a:solidFill>
                <a:effectLst/>
                <a:latin typeface="Segoe UI" panose="020B0502040204020203" pitchFamily="34" charset="0"/>
              </a:rPr>
              <a:t>https://www.nasdaq.com/nasdaq-ir-intelligence/earnings-season-machine-learning</a:t>
            </a:r>
          </a:p>
          <a:p>
            <a:pPr algn="l">
              <a:buFont typeface="Arial" panose="020B0604020202020204" pitchFamily="34" charset="0"/>
              <a:buChar char="•"/>
            </a:pPr>
            <a:r>
              <a:rPr lang="en-US" b="1" i="0" dirty="0">
                <a:solidFill>
                  <a:srgbClr val="171717"/>
                </a:solidFill>
                <a:effectLst/>
                <a:latin typeface="Segoe UI" panose="020B0502040204020203" pitchFamily="34" charset="0"/>
              </a:rPr>
              <a:t>https://rstudio-pubs-static.s3.amazonaws.com/615843_4ca8d2a8197b433aa2da9da4552b35d9.html</a:t>
            </a:r>
          </a:p>
          <a:p>
            <a:pPr algn="l">
              <a:buFont typeface="Arial" panose="020B0604020202020204" pitchFamily="34" charset="0"/>
              <a:buChar char="•"/>
            </a:pPr>
            <a:r>
              <a:rPr lang="en-US" b="1" i="0" dirty="0">
                <a:solidFill>
                  <a:srgbClr val="171717"/>
                </a:solidFill>
                <a:effectLst/>
                <a:latin typeface="Segoe UI" panose="020B0502040204020203" pitchFamily="34" charset="0"/>
              </a:rPr>
              <a:t>https://github.com/EricHe98/Financial-Statements-Text-Analysis</a:t>
            </a:r>
            <a:br>
              <a:rPr lang="en-US" b="1" i="0" dirty="0">
                <a:solidFill>
                  <a:srgbClr val="171717"/>
                </a:solidFill>
                <a:effectLst/>
                <a:latin typeface="Segoe UI" panose="020B0502040204020203" pitchFamily="34" charset="0"/>
              </a:rPr>
            </a:br>
            <a:endParaRPr lang="en-US" dirty="0"/>
          </a:p>
        </p:txBody>
      </p:sp>
      <p:sp>
        <p:nvSpPr>
          <p:cNvPr id="4" name="Slide Number Placeholder 3"/>
          <p:cNvSpPr>
            <a:spLocks noGrp="1"/>
          </p:cNvSpPr>
          <p:nvPr>
            <p:ph type="sldNum" sz="quarter" idx="5"/>
          </p:nvPr>
        </p:nvSpPr>
        <p:spPr/>
        <p:txBody>
          <a:bodyPr/>
          <a:lstStyle/>
          <a:p>
            <a:fld id="{201863F1-B1D5-4F3E-887B-7F94EAFF540F}" type="slidenum">
              <a:rPr lang="en-US" smtClean="0"/>
              <a:t>1</a:t>
            </a:fld>
            <a:endParaRPr lang="en-US"/>
          </a:p>
        </p:txBody>
      </p:sp>
    </p:spTree>
    <p:extLst>
      <p:ext uri="{BB962C8B-B14F-4D97-AF65-F5344CB8AC3E}">
        <p14:creationId xmlns:p14="http://schemas.microsoft.com/office/powerpoint/2010/main" val="4217773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Deck Title" preserve="1">
  <p:cSld name="Deck Title">
    <p:spTree>
      <p:nvGrpSpPr>
        <p:cNvPr id="1" name="Shape 15"/>
        <p:cNvGrpSpPr/>
        <p:nvPr/>
      </p:nvGrpSpPr>
      <p:grpSpPr>
        <a:xfrm>
          <a:off x="0" y="0"/>
          <a:ext cx="0" cy="0"/>
          <a:chOff x="0" y="0"/>
          <a:chExt cx="0" cy="0"/>
        </a:xfrm>
      </p:grpSpPr>
      <p:sp>
        <p:nvSpPr>
          <p:cNvPr id="16" name="Google Shape;16;p30"/>
          <p:cNvSpPr txBox="1">
            <a:spLocks noGrp="1"/>
          </p:cNvSpPr>
          <p:nvPr>
            <p:ph type="ctrTitle"/>
          </p:nvPr>
        </p:nvSpPr>
        <p:spPr>
          <a:xfrm>
            <a:off x="720000" y="1800000"/>
            <a:ext cx="6120000" cy="170726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3200"/>
              <a:buFont typeface="Arial"/>
              <a:buNone/>
              <a:defRPr sz="32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0"/>
          <p:cNvSpPr txBox="1">
            <a:spLocks noGrp="1"/>
          </p:cNvSpPr>
          <p:nvPr>
            <p:ph type="subTitle" idx="1"/>
          </p:nvPr>
        </p:nvSpPr>
        <p:spPr>
          <a:xfrm>
            <a:off x="720000" y="3869006"/>
            <a:ext cx="6120000" cy="720000"/>
          </a:xfrm>
          <a:prstGeom prst="rect">
            <a:avLst/>
          </a:prstGeom>
          <a:noFill/>
          <a:ln>
            <a:noFill/>
          </a:ln>
        </p:spPr>
        <p:txBody>
          <a:bodyPr spcFirstLastPara="1" wrap="square" lIns="0" tIns="0" rIns="0" bIns="0" anchor="t" anchorCtr="0">
            <a:normAutofit/>
          </a:bodyPr>
          <a:lstStyle>
            <a:lvl1pPr lvl="0" algn="l">
              <a:lnSpc>
                <a:spcPct val="120000"/>
              </a:lnSpc>
              <a:spcBef>
                <a:spcPts val="1200"/>
              </a:spcBef>
              <a:spcAft>
                <a:spcPts val="0"/>
              </a:spcAft>
              <a:buSzPts val="1600"/>
              <a:buNone/>
              <a:defRPr sz="1600" b="0">
                <a:solidFill>
                  <a:schemeClr val="dk1"/>
                </a:solidFill>
              </a:defRPr>
            </a:lvl1pPr>
            <a:lvl2pPr lvl="1" algn="ctr">
              <a:lnSpc>
                <a:spcPct val="120000"/>
              </a:lnSpc>
              <a:spcBef>
                <a:spcPts val="1200"/>
              </a:spcBef>
              <a:spcAft>
                <a:spcPts val="0"/>
              </a:spcAft>
              <a:buSzPts val="2000"/>
              <a:buNone/>
              <a:defRPr sz="2000"/>
            </a:lvl2pPr>
            <a:lvl3pPr lvl="2" algn="ctr">
              <a:lnSpc>
                <a:spcPct val="120000"/>
              </a:lnSpc>
              <a:spcBef>
                <a:spcPts val="500"/>
              </a:spcBef>
              <a:spcAft>
                <a:spcPts val="0"/>
              </a:spcAft>
              <a:buSzPts val="1800"/>
              <a:buNone/>
              <a:defRPr sz="1800"/>
            </a:lvl3pPr>
            <a:lvl4pPr lvl="3" algn="ctr">
              <a:lnSpc>
                <a:spcPct val="120000"/>
              </a:lnSpc>
              <a:spcBef>
                <a:spcPts val="500"/>
              </a:spcBef>
              <a:spcAft>
                <a:spcPts val="0"/>
              </a:spcAft>
              <a:buSzPts val="1600"/>
              <a:buNone/>
              <a:defRPr sz="1600"/>
            </a:lvl4pPr>
            <a:lvl5pPr lvl="4" algn="ctr">
              <a:lnSpc>
                <a:spcPct val="12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18" name="Google Shape;18;p30"/>
          <p:cNvPicPr preferRelativeResize="0"/>
          <p:nvPr/>
        </p:nvPicPr>
        <p:blipFill rotWithShape="1">
          <a:blip r:embed="rId2">
            <a:alphaModFix/>
          </a:blip>
          <a:srcRect/>
          <a:stretch/>
        </p:blipFill>
        <p:spPr>
          <a:xfrm>
            <a:off x="3534136" y="719999"/>
            <a:ext cx="7937863" cy="6138001"/>
          </a:xfrm>
          <a:prstGeom prst="rect">
            <a:avLst/>
          </a:prstGeom>
          <a:noFill/>
          <a:ln>
            <a:noFill/>
          </a:ln>
        </p:spPr>
      </p:pic>
      <p:pic>
        <p:nvPicPr>
          <p:cNvPr id="19" name="Google Shape;19;p30"/>
          <p:cNvPicPr preferRelativeResize="0"/>
          <p:nvPr/>
        </p:nvPicPr>
        <p:blipFill rotWithShape="1">
          <a:blip r:embed="rId3">
            <a:alphaModFix/>
          </a:blip>
          <a:srcRect/>
          <a:stretch/>
        </p:blipFill>
        <p:spPr>
          <a:xfrm>
            <a:off x="720000" y="719998"/>
            <a:ext cx="1173913" cy="1080000"/>
          </a:xfrm>
          <a:prstGeom prst="rect">
            <a:avLst/>
          </a:prstGeom>
          <a:noFill/>
          <a:ln>
            <a:noFill/>
          </a:ln>
        </p:spPr>
      </p:pic>
    </p:spTree>
    <p:extLst>
      <p:ext uri="{BB962C8B-B14F-4D97-AF65-F5344CB8AC3E}">
        <p14:creationId xmlns:p14="http://schemas.microsoft.com/office/powerpoint/2010/main" val="329906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tyle 1) 3 Colored Columns" preserve="1">
  <p:cSld name="(Style 1) 3 Colored Columns">
    <p:spTree>
      <p:nvGrpSpPr>
        <p:cNvPr id="1" name="Shape 67"/>
        <p:cNvGrpSpPr/>
        <p:nvPr/>
      </p:nvGrpSpPr>
      <p:grpSpPr>
        <a:xfrm>
          <a:off x="0" y="0"/>
          <a:ext cx="0" cy="0"/>
          <a:chOff x="0" y="0"/>
          <a:chExt cx="0" cy="0"/>
        </a:xfrm>
      </p:grpSpPr>
      <p:sp>
        <p:nvSpPr>
          <p:cNvPr id="68" name="Google Shape;68;p82"/>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82"/>
          <p:cNvSpPr txBox="1">
            <a:spLocks noGrp="1"/>
          </p:cNvSpPr>
          <p:nvPr>
            <p:ph type="body" idx="1"/>
          </p:nvPr>
        </p:nvSpPr>
        <p:spPr>
          <a:xfrm>
            <a:off x="360000" y="1080000"/>
            <a:ext cx="360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 name="Google Shape;70;p82"/>
          <p:cNvSpPr txBox="1">
            <a:spLocks noGrp="1"/>
          </p:cNvSpPr>
          <p:nvPr>
            <p:ph type="body" idx="2"/>
          </p:nvPr>
        </p:nvSpPr>
        <p:spPr>
          <a:xfrm>
            <a:off x="4296000" y="1080000"/>
            <a:ext cx="360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82"/>
          <p:cNvSpPr txBox="1">
            <a:spLocks noGrp="1"/>
          </p:cNvSpPr>
          <p:nvPr>
            <p:ph type="body" idx="3"/>
          </p:nvPr>
        </p:nvSpPr>
        <p:spPr>
          <a:xfrm>
            <a:off x="8213941" y="1080000"/>
            <a:ext cx="360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82"/>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73" name="Google Shape;73;p82"/>
          <p:cNvSpPr txBox="1">
            <a:spLocks noGrp="1"/>
          </p:cNvSpPr>
          <p:nvPr>
            <p:ph type="body" idx="4"/>
          </p:nvPr>
        </p:nvSpPr>
        <p:spPr>
          <a:xfrm>
            <a:off x="360364" y="5337900"/>
            <a:ext cx="3617696"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11150" algn="l">
              <a:lnSpc>
                <a:spcPct val="120000"/>
              </a:lnSpc>
              <a:spcBef>
                <a:spcPts val="1200"/>
              </a:spcBef>
              <a:spcAft>
                <a:spcPts val="0"/>
              </a:spcAft>
              <a:buSzPts val="1300"/>
              <a:buChar char="-"/>
              <a:defRPr sz="1300">
                <a:solidFill>
                  <a:schemeClr val="lt1"/>
                </a:solidFil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 name="Google Shape;74;p82"/>
          <p:cNvSpPr txBox="1">
            <a:spLocks noGrp="1"/>
          </p:cNvSpPr>
          <p:nvPr>
            <p:ph type="body" idx="5"/>
          </p:nvPr>
        </p:nvSpPr>
        <p:spPr>
          <a:xfrm>
            <a:off x="4295757" y="5337900"/>
            <a:ext cx="3617696"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11150" algn="l">
              <a:lnSpc>
                <a:spcPct val="120000"/>
              </a:lnSpc>
              <a:spcBef>
                <a:spcPts val="1200"/>
              </a:spcBef>
              <a:spcAft>
                <a:spcPts val="0"/>
              </a:spcAft>
              <a:buSzPts val="1300"/>
              <a:buChar char="-"/>
              <a:defRPr sz="1300">
                <a:solidFill>
                  <a:schemeClr val="lt1"/>
                </a:solidFil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 name="Google Shape;75;p82"/>
          <p:cNvSpPr txBox="1">
            <a:spLocks noGrp="1"/>
          </p:cNvSpPr>
          <p:nvPr>
            <p:ph type="body" idx="6"/>
          </p:nvPr>
        </p:nvSpPr>
        <p:spPr>
          <a:xfrm>
            <a:off x="8194518" y="5337900"/>
            <a:ext cx="3617696"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11150" algn="l">
              <a:lnSpc>
                <a:spcPct val="120000"/>
              </a:lnSpc>
              <a:spcBef>
                <a:spcPts val="1200"/>
              </a:spcBef>
              <a:spcAft>
                <a:spcPts val="0"/>
              </a:spcAft>
              <a:buSzPts val="1300"/>
              <a:buChar char="-"/>
              <a:defRPr sz="1300">
                <a:solidFill>
                  <a:schemeClr val="lt1"/>
                </a:solidFil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1413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Grey">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4846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Yellow">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9446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Teal">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7263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ection Rose">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7436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4418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Section Green">
    <p:bg>
      <p:bgPr>
        <a:solidFill>
          <a:srgbClr val="6AC0B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319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ntents - 1">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1</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2234578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ntents - 2">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2</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753945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ents - 3">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3</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30849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ntents - 4">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lvl="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4</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574797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tyle 1) 4 Colored Columns" preserve="1">
  <p:cSld name="(Style 1) 4 Colored Columns">
    <p:spTree>
      <p:nvGrpSpPr>
        <p:cNvPr id="1" name="Shape 76"/>
        <p:cNvGrpSpPr/>
        <p:nvPr/>
      </p:nvGrpSpPr>
      <p:grpSpPr>
        <a:xfrm>
          <a:off x="0" y="0"/>
          <a:ext cx="0" cy="0"/>
          <a:chOff x="0" y="0"/>
          <a:chExt cx="0" cy="0"/>
        </a:xfrm>
      </p:grpSpPr>
      <p:sp>
        <p:nvSpPr>
          <p:cNvPr id="77" name="Google Shape;77;p83"/>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83"/>
          <p:cNvSpPr txBox="1">
            <a:spLocks noGrp="1"/>
          </p:cNvSpPr>
          <p:nvPr>
            <p:ph type="body" idx="1"/>
          </p:nvPr>
        </p:nvSpPr>
        <p:spPr>
          <a:xfrm>
            <a:off x="360000" y="1080000"/>
            <a:ext cx="252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83"/>
          <p:cNvSpPr txBox="1">
            <a:spLocks noGrp="1"/>
          </p:cNvSpPr>
          <p:nvPr>
            <p:ph type="body" idx="2"/>
          </p:nvPr>
        </p:nvSpPr>
        <p:spPr>
          <a:xfrm>
            <a:off x="3337980" y="1080000"/>
            <a:ext cx="252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83"/>
          <p:cNvSpPr txBox="1">
            <a:spLocks noGrp="1"/>
          </p:cNvSpPr>
          <p:nvPr>
            <p:ph type="body" idx="3"/>
          </p:nvPr>
        </p:nvSpPr>
        <p:spPr>
          <a:xfrm>
            <a:off x="9293941" y="1080000"/>
            <a:ext cx="252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83"/>
          <p:cNvSpPr txBox="1">
            <a:spLocks noGrp="1"/>
          </p:cNvSpPr>
          <p:nvPr>
            <p:ph type="body" idx="4"/>
          </p:nvPr>
        </p:nvSpPr>
        <p:spPr>
          <a:xfrm>
            <a:off x="6315960" y="1080000"/>
            <a:ext cx="25200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3"/>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83" name="Google Shape;83;p83"/>
          <p:cNvSpPr txBox="1">
            <a:spLocks noGrp="1"/>
          </p:cNvSpPr>
          <p:nvPr>
            <p:ph type="body" idx="5"/>
          </p:nvPr>
        </p:nvSpPr>
        <p:spPr>
          <a:xfrm>
            <a:off x="360364" y="5337900"/>
            <a:ext cx="25200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83"/>
          <p:cNvSpPr txBox="1">
            <a:spLocks noGrp="1"/>
          </p:cNvSpPr>
          <p:nvPr>
            <p:ph type="body" idx="6"/>
          </p:nvPr>
        </p:nvSpPr>
        <p:spPr>
          <a:xfrm>
            <a:off x="3338486" y="5337900"/>
            <a:ext cx="25200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 name="Google Shape;85;p83"/>
          <p:cNvSpPr txBox="1">
            <a:spLocks noGrp="1"/>
          </p:cNvSpPr>
          <p:nvPr>
            <p:ph type="body" idx="7"/>
          </p:nvPr>
        </p:nvSpPr>
        <p:spPr>
          <a:xfrm>
            <a:off x="6319037" y="5337900"/>
            <a:ext cx="25200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 name="Google Shape;86;p83"/>
          <p:cNvSpPr txBox="1">
            <a:spLocks noGrp="1"/>
          </p:cNvSpPr>
          <p:nvPr>
            <p:ph type="body" idx="8"/>
          </p:nvPr>
        </p:nvSpPr>
        <p:spPr>
          <a:xfrm>
            <a:off x="9293349" y="5337900"/>
            <a:ext cx="25200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2626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ntents - 5">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lvl="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5</a:t>
            </a:r>
            <a:endParaRPr lang="ar-SA" sz="8000" b="1" i="0" dirty="0">
              <a:solidFill>
                <a:schemeClr val="accent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209897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97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644D4-C9F8-4D82-ABA4-67C7E9C0C150}"/>
              </a:ext>
            </a:extLst>
          </p:cNvPr>
          <p:cNvSpPr>
            <a:spLocks noGrp="1"/>
          </p:cNvSpPr>
          <p:nvPr>
            <p:ph type="title"/>
          </p:nvPr>
        </p:nvSpPr>
        <p:spPr/>
        <p:txBody>
          <a:bodyPr/>
          <a:lstStyle/>
          <a:p>
            <a:r>
              <a:rPr lang="en-US"/>
              <a:t>Click to edit Master title style</a:t>
            </a:r>
          </a:p>
        </p:txBody>
      </p:sp>
      <p:sp>
        <p:nvSpPr>
          <p:cNvPr id="4" name="Content Placeholder 2">
            <a:extLst>
              <a:ext uri="{FF2B5EF4-FFF2-40B4-BE49-F238E27FC236}">
                <a16:creationId xmlns:a16="http://schemas.microsoft.com/office/drawing/2014/main" id="{73D49CF7-8392-4D83-8ED1-3056FB867837}"/>
              </a:ext>
            </a:extLst>
          </p:cNvPr>
          <p:cNvSpPr>
            <a:spLocks noGrp="1"/>
          </p:cNvSpPr>
          <p:nvPr>
            <p:ph idx="1" hasCustomPrompt="1"/>
          </p:nvPr>
        </p:nvSpPr>
        <p:spPr>
          <a:xfrm>
            <a:off x="360000" y="4829948"/>
            <a:ext cx="5736000" cy="2028052"/>
          </a:xfrm>
          <a:prstGeom prst="rect">
            <a:avLst/>
          </a:prstGeo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tx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Tree>
    <p:extLst>
      <p:ext uri="{BB962C8B-B14F-4D97-AF65-F5344CB8AC3E}">
        <p14:creationId xmlns:p14="http://schemas.microsoft.com/office/powerpoint/2010/main" val="27949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7E9E8-9000-4853-A2AE-6FD5741B195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6A2C151-C044-4492-8CEE-1ACEEC4E09E8}"/>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4" name="Content Placeholder 2">
            <a:extLst>
              <a:ext uri="{FF2B5EF4-FFF2-40B4-BE49-F238E27FC236}">
                <a16:creationId xmlns:a16="http://schemas.microsoft.com/office/drawing/2014/main" id="{1A803D1A-17D9-4076-9593-EFDC091B7B2E}"/>
              </a:ext>
            </a:extLst>
          </p:cNvPr>
          <p:cNvSpPr>
            <a:spLocks noGrp="1"/>
          </p:cNvSpPr>
          <p:nvPr>
            <p:ph idx="1" hasCustomPrompt="1"/>
          </p:nvPr>
        </p:nvSpPr>
        <p:spPr>
          <a:xfrm>
            <a:off x="360000" y="1079998"/>
            <a:ext cx="11463700" cy="5228727"/>
          </a:xfrm>
          <a:prstGeom prst="rect">
            <a:avLst/>
          </a:prstGeom>
        </p:spPr>
        <p:txBody>
          <a:bodyPr/>
          <a:lstStyle>
            <a:lvl1pPr>
              <a:defRPr>
                <a:solidFill>
                  <a:schemeClr val="bg1"/>
                </a:solidFill>
              </a:defRPr>
            </a:lvl1pPr>
            <a:lvl2pPr marL="645750" indent="-285750">
              <a:spcBef>
                <a:spcPts val="500"/>
              </a:spcBef>
              <a:defRPr lang="en-US" sz="1600" kern="1200" baseline="0" dirty="0">
                <a:solidFill>
                  <a:schemeClr val="bg1"/>
                </a:solidFill>
                <a:latin typeface="+mn-lt"/>
                <a:ea typeface="+mn-ea"/>
                <a:cs typeface="+mn-cs"/>
              </a:defRPr>
            </a:lvl2pPr>
          </a:lstStyle>
          <a:p>
            <a:pPr lvl="0"/>
            <a:r>
              <a:rPr lang="en-US" dirty="0"/>
              <a:t>Click to edit text</a:t>
            </a:r>
          </a:p>
          <a:p>
            <a:pPr marL="540000" lvl="1" indent="-180000" algn="l" defTabSz="914400" rtl="0" eaLnBrk="1" latinLnBrk="0" hangingPunct="1">
              <a:lnSpc>
                <a:spcPct val="120000"/>
              </a:lnSpc>
              <a:spcBef>
                <a:spcPts val="500"/>
              </a:spcBef>
              <a:buClr>
                <a:schemeClr val="accent1"/>
              </a:buClr>
              <a:buFont typeface="System Font Regular"/>
              <a:buChar char="-"/>
            </a:pPr>
            <a:r>
              <a:rPr lang="en-US" dirty="0"/>
              <a:t>Second level</a:t>
            </a:r>
          </a:p>
        </p:txBody>
      </p:sp>
    </p:spTree>
    <p:extLst>
      <p:ext uri="{BB962C8B-B14F-4D97-AF65-F5344CB8AC3E}">
        <p14:creationId xmlns:p14="http://schemas.microsoft.com/office/powerpoint/2010/main" val="348489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 with Big title and 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360000" y="0"/>
            <a:ext cx="11476800" cy="2962800"/>
          </a:xfrm>
          <a:noFill/>
        </p:spPr>
        <p:txBody>
          <a:bodyPr lIns="0" tIns="0" rIns="0" bIns="0" anchor="b" anchorCtr="0"/>
          <a:lstStyle>
            <a:lvl1pPr algn="l">
              <a:lnSpc>
                <a:spcPct val="100000"/>
              </a:lnSpc>
              <a:defRPr sz="7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Big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359999" y="2962800"/>
            <a:ext cx="11476799" cy="1846800"/>
          </a:xfrm>
          <a:prstGeom prst="rect">
            <a:avLst/>
          </a:prstGeom>
          <a:noFill/>
        </p:spPr>
        <p:txBody>
          <a:bodyPr lIns="0" tIns="14400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352424" y="4905375"/>
            <a:ext cx="3704400" cy="1418400"/>
          </a:xfrm>
          <a:solidFill>
            <a:schemeClr val="bg2"/>
          </a:solidFill>
          <a:effectLst>
            <a:innerShdw dist="38100" dir="5400000">
              <a:schemeClr val="accent1"/>
            </a:innerShdw>
          </a:effectLst>
        </p:spPr>
        <p:txBody>
          <a:bodyPr lIns="180000" tIns="180000" rIns="180000" bIns="180000"/>
          <a:lstStyle>
            <a:lvl1pPr marL="0" indent="0">
              <a:buNone/>
              <a:defRPr b="1" i="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8" name="Text Placeholder 5">
            <a:extLst>
              <a:ext uri="{FF2B5EF4-FFF2-40B4-BE49-F238E27FC236}">
                <a16:creationId xmlns:a16="http://schemas.microsoft.com/office/drawing/2014/main" id="{E1DD0F7B-798F-C648-B9AB-98D25A307B80}"/>
              </a:ext>
            </a:extLst>
          </p:cNvPr>
          <p:cNvSpPr>
            <a:spLocks noGrp="1"/>
          </p:cNvSpPr>
          <p:nvPr>
            <p:ph type="body" sz="quarter" idx="12" hasCustomPrompt="1"/>
          </p:nvPr>
        </p:nvSpPr>
        <p:spPr>
          <a:xfrm>
            <a:off x="4248000" y="4906800"/>
            <a:ext cx="3693600" cy="1418400"/>
          </a:xfrm>
          <a:solidFill>
            <a:schemeClr val="bg2"/>
          </a:solidFill>
          <a:effectLst>
            <a:innerShdw dist="38100" dir="5400000">
              <a:schemeClr val="accent1"/>
            </a:innerShdw>
          </a:effectLst>
        </p:spPr>
        <p:txBody>
          <a:bodyPr lIns="180000" tIns="180000" rIns="180000" bIns="180000"/>
          <a:lstStyle>
            <a:lvl1pPr marL="0" indent="0">
              <a:buNone/>
              <a:defRPr b="1" i="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9" name="Text Placeholder 5">
            <a:extLst>
              <a:ext uri="{FF2B5EF4-FFF2-40B4-BE49-F238E27FC236}">
                <a16:creationId xmlns:a16="http://schemas.microsoft.com/office/drawing/2014/main" id="{7A1029AF-5E97-D943-82EF-A5B9D647360C}"/>
              </a:ext>
            </a:extLst>
          </p:cNvPr>
          <p:cNvSpPr>
            <a:spLocks noGrp="1"/>
          </p:cNvSpPr>
          <p:nvPr>
            <p:ph type="body" sz="quarter" idx="13" hasCustomPrompt="1"/>
          </p:nvPr>
        </p:nvSpPr>
        <p:spPr>
          <a:xfrm>
            <a:off x="8139600" y="4906800"/>
            <a:ext cx="3693600" cy="1418400"/>
          </a:xfrm>
          <a:solidFill>
            <a:schemeClr val="bg2"/>
          </a:solidFill>
          <a:effectLst>
            <a:innerShdw dist="38100" dir="5400000">
              <a:schemeClr val="accent1"/>
            </a:innerShdw>
          </a:effectLst>
        </p:spPr>
        <p:txBody>
          <a:bodyPr lIns="180000" tIns="180000" rIns="180000" bIns="180000"/>
          <a:lstStyle>
            <a:lvl1pPr marL="0" indent="0">
              <a:buNone/>
              <a:defRPr b="1" i="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352424" y="5387975"/>
            <a:ext cx="3704400" cy="920750"/>
          </a:xfrm>
        </p:spPr>
        <p:txBody>
          <a:bodyPr lIns="180000" tIns="72000" rIns="144000" bIns="180000">
            <a:normAutofit/>
          </a:bodyPr>
          <a:lstStyle>
            <a:lvl1pPr marL="0" indent="0">
              <a:buNone/>
              <a:defRPr sz="1200">
                <a:solidFill>
                  <a:schemeClr val="tx1"/>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5" name="Text Placeholder 12">
            <a:extLst>
              <a:ext uri="{FF2B5EF4-FFF2-40B4-BE49-F238E27FC236}">
                <a16:creationId xmlns:a16="http://schemas.microsoft.com/office/drawing/2014/main" id="{7EF617E9-D826-4F4C-ABF6-2FF4A3A25726}"/>
              </a:ext>
            </a:extLst>
          </p:cNvPr>
          <p:cNvSpPr>
            <a:spLocks noGrp="1"/>
          </p:cNvSpPr>
          <p:nvPr>
            <p:ph type="body" sz="quarter" idx="15" hasCustomPrompt="1"/>
          </p:nvPr>
        </p:nvSpPr>
        <p:spPr>
          <a:xfrm>
            <a:off x="4248000" y="5387975"/>
            <a:ext cx="3687763" cy="920750"/>
          </a:xfrm>
        </p:spPr>
        <p:txBody>
          <a:bodyPr lIns="180000" tIns="72000" rIns="144000" bIns="180000">
            <a:normAutofit/>
          </a:bodyPr>
          <a:lstStyle>
            <a:lvl1pPr marL="0" indent="0">
              <a:buNone/>
              <a:defRPr sz="1200">
                <a:solidFill>
                  <a:schemeClr val="tx1"/>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6" name="Text Placeholder 12">
            <a:extLst>
              <a:ext uri="{FF2B5EF4-FFF2-40B4-BE49-F238E27FC236}">
                <a16:creationId xmlns:a16="http://schemas.microsoft.com/office/drawing/2014/main" id="{AD39C6F7-AEAA-DA44-BD02-1F651EA75C52}"/>
              </a:ext>
            </a:extLst>
          </p:cNvPr>
          <p:cNvSpPr>
            <a:spLocks noGrp="1"/>
          </p:cNvSpPr>
          <p:nvPr>
            <p:ph type="body" sz="quarter" idx="16" hasCustomPrompt="1"/>
          </p:nvPr>
        </p:nvSpPr>
        <p:spPr>
          <a:xfrm>
            <a:off x="8139600" y="5387975"/>
            <a:ext cx="3687763" cy="920750"/>
          </a:xfrm>
        </p:spPr>
        <p:txBody>
          <a:bodyPr lIns="180000" tIns="72000" rIns="144000" bIns="180000">
            <a:normAutofit/>
          </a:bodyPr>
          <a:lstStyle>
            <a:lvl1pPr marL="0" indent="0">
              <a:buNone/>
              <a:defRPr sz="1200">
                <a:solidFill>
                  <a:schemeClr val="tx1"/>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4" name="Slide Number Placeholder 3">
            <a:extLst>
              <a:ext uri="{FF2B5EF4-FFF2-40B4-BE49-F238E27FC236}">
                <a16:creationId xmlns:a16="http://schemas.microsoft.com/office/drawing/2014/main" id="{B95F87B3-1C43-9B4B-ACF3-4BE3E610BD8C}"/>
              </a:ext>
            </a:extLst>
          </p:cNvPr>
          <p:cNvSpPr>
            <a:spLocks noGrp="1"/>
          </p:cNvSpPr>
          <p:nvPr>
            <p:ph type="sldNum" sz="quarter" idx="17"/>
          </p:nvPr>
        </p:nvSpPr>
        <p:spPr/>
        <p:txBody>
          <a:bodyPr/>
          <a:lstStyle/>
          <a:p>
            <a:fld id="{9A0F7689-66CB-EC4F-9B5C-9C3D3ED1F24F}" type="slidenum">
              <a:rPr lang="en-US" smtClean="0"/>
              <a:pPr/>
              <a:t>‹#›</a:t>
            </a:fld>
            <a:endParaRPr lang="en-US" dirty="0"/>
          </a:p>
        </p:txBody>
      </p:sp>
    </p:spTree>
    <p:extLst>
      <p:ext uri="{BB962C8B-B14F-4D97-AF65-F5344CB8AC3E}">
        <p14:creationId xmlns:p14="http://schemas.microsoft.com/office/powerpoint/2010/main" val="2794247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 with Big Title and 4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5C3F1A-D19C-A84A-BB8E-97A3AFAA4616}"/>
              </a:ext>
            </a:extLst>
          </p:cNvPr>
          <p:cNvSpPr/>
          <p:nvPr userDrawn="1"/>
        </p:nvSpPr>
        <p:spPr>
          <a:xfrm>
            <a:off x="0" y="5476240"/>
            <a:ext cx="12204700" cy="13817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360000" y="0"/>
            <a:ext cx="11476800" cy="2962800"/>
          </a:xfrm>
          <a:noFill/>
        </p:spPr>
        <p:txBody>
          <a:bodyPr lIns="0" tIns="0" rIns="0" bIns="0" anchor="b" anchorCtr="0"/>
          <a:lstStyle>
            <a:lvl1pPr algn="l">
              <a:lnSpc>
                <a:spcPct val="100000"/>
              </a:lnSpc>
              <a:defRPr sz="7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Big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359999" y="2962800"/>
            <a:ext cx="11468463" cy="1846800"/>
          </a:xfrm>
          <a:prstGeom prst="rect">
            <a:avLst/>
          </a:prstGeom>
          <a:noFill/>
        </p:spPr>
        <p:txBody>
          <a:bodyPr lIns="0" tIns="14400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352424" y="4906800"/>
            <a:ext cx="2872800" cy="14184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352425" y="5452817"/>
            <a:ext cx="2872800" cy="881308"/>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1" name="Text Placeholder 5">
            <a:extLst>
              <a:ext uri="{FF2B5EF4-FFF2-40B4-BE49-F238E27FC236}">
                <a16:creationId xmlns:a16="http://schemas.microsoft.com/office/drawing/2014/main" id="{5ECC2C54-9DF0-1E4A-AC57-F8DDCA828C7A}"/>
              </a:ext>
            </a:extLst>
          </p:cNvPr>
          <p:cNvSpPr>
            <a:spLocks noGrp="1"/>
          </p:cNvSpPr>
          <p:nvPr>
            <p:ph type="body" sz="quarter" idx="15" hasCustomPrompt="1"/>
          </p:nvPr>
        </p:nvSpPr>
        <p:spPr>
          <a:xfrm>
            <a:off x="3225600" y="4906800"/>
            <a:ext cx="2872800" cy="14184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2" name="Text Placeholder 12">
            <a:extLst>
              <a:ext uri="{FF2B5EF4-FFF2-40B4-BE49-F238E27FC236}">
                <a16:creationId xmlns:a16="http://schemas.microsoft.com/office/drawing/2014/main" id="{9A9FBB97-8C0A-E146-AFE3-5FD58BC02815}"/>
              </a:ext>
            </a:extLst>
          </p:cNvPr>
          <p:cNvSpPr>
            <a:spLocks noGrp="1"/>
          </p:cNvSpPr>
          <p:nvPr>
            <p:ph type="body" sz="quarter" idx="16" hasCustomPrompt="1"/>
          </p:nvPr>
        </p:nvSpPr>
        <p:spPr>
          <a:xfrm>
            <a:off x="3225600" y="5452817"/>
            <a:ext cx="2872800" cy="881308"/>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4" name="Text Placeholder 5">
            <a:extLst>
              <a:ext uri="{FF2B5EF4-FFF2-40B4-BE49-F238E27FC236}">
                <a16:creationId xmlns:a16="http://schemas.microsoft.com/office/drawing/2014/main" id="{8B60FC42-FFE8-1A4A-8B75-2FBB71B31847}"/>
              </a:ext>
            </a:extLst>
          </p:cNvPr>
          <p:cNvSpPr>
            <a:spLocks noGrp="1"/>
          </p:cNvSpPr>
          <p:nvPr>
            <p:ph type="body" sz="quarter" idx="17" hasCustomPrompt="1"/>
          </p:nvPr>
        </p:nvSpPr>
        <p:spPr>
          <a:xfrm>
            <a:off x="6096000" y="4906800"/>
            <a:ext cx="2872800" cy="14184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7" name="Text Placeholder 12">
            <a:extLst>
              <a:ext uri="{FF2B5EF4-FFF2-40B4-BE49-F238E27FC236}">
                <a16:creationId xmlns:a16="http://schemas.microsoft.com/office/drawing/2014/main" id="{3D277FE7-06BD-784B-A695-6E97022EE6CA}"/>
              </a:ext>
            </a:extLst>
          </p:cNvPr>
          <p:cNvSpPr>
            <a:spLocks noGrp="1"/>
          </p:cNvSpPr>
          <p:nvPr>
            <p:ph type="body" sz="quarter" idx="18" hasCustomPrompt="1"/>
          </p:nvPr>
        </p:nvSpPr>
        <p:spPr>
          <a:xfrm>
            <a:off x="6096000" y="5452817"/>
            <a:ext cx="2872800" cy="881308"/>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8" name="Text Placeholder 5">
            <a:extLst>
              <a:ext uri="{FF2B5EF4-FFF2-40B4-BE49-F238E27FC236}">
                <a16:creationId xmlns:a16="http://schemas.microsoft.com/office/drawing/2014/main" id="{D52BD68D-6847-3441-862C-A2206D463395}"/>
              </a:ext>
            </a:extLst>
          </p:cNvPr>
          <p:cNvSpPr>
            <a:spLocks noGrp="1"/>
          </p:cNvSpPr>
          <p:nvPr>
            <p:ph type="body" sz="quarter" idx="19" hasCustomPrompt="1"/>
          </p:nvPr>
        </p:nvSpPr>
        <p:spPr>
          <a:xfrm>
            <a:off x="8964000" y="4906800"/>
            <a:ext cx="2872800" cy="14184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9" name="Text Placeholder 12">
            <a:extLst>
              <a:ext uri="{FF2B5EF4-FFF2-40B4-BE49-F238E27FC236}">
                <a16:creationId xmlns:a16="http://schemas.microsoft.com/office/drawing/2014/main" id="{33462742-93D6-2C42-BDBB-A7F29B59C98A}"/>
              </a:ext>
            </a:extLst>
          </p:cNvPr>
          <p:cNvSpPr>
            <a:spLocks noGrp="1"/>
          </p:cNvSpPr>
          <p:nvPr>
            <p:ph type="body" sz="quarter" idx="20" hasCustomPrompt="1"/>
          </p:nvPr>
        </p:nvSpPr>
        <p:spPr>
          <a:xfrm>
            <a:off x="8964000" y="5452817"/>
            <a:ext cx="2872800" cy="881308"/>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Tree>
    <p:extLst>
      <p:ext uri="{BB962C8B-B14F-4D97-AF65-F5344CB8AC3E}">
        <p14:creationId xmlns:p14="http://schemas.microsoft.com/office/powerpoint/2010/main" val="1089831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with Photo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3A57AE-F575-8045-AA77-270E1E606BAD}"/>
              </a:ext>
            </a:extLst>
          </p:cNvPr>
          <p:cNvSpPr/>
          <p:nvPr userDrawn="1"/>
        </p:nvSpPr>
        <p:spPr>
          <a:xfrm>
            <a:off x="0" y="0"/>
            <a:ext cx="29986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Rectangle 1">
            <a:extLst>
              <a:ext uri="{FF2B5EF4-FFF2-40B4-BE49-F238E27FC236}">
                <a16:creationId xmlns:a16="http://schemas.microsoft.com/office/drawing/2014/main" id="{6594DA25-C784-7842-B9E7-159A55176936}"/>
              </a:ext>
            </a:extLst>
          </p:cNvPr>
          <p:cNvSpPr/>
          <p:nvPr userDrawn="1"/>
        </p:nvSpPr>
        <p:spPr>
          <a:xfrm>
            <a:off x="0" y="1134443"/>
            <a:ext cx="6084888" cy="44766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8" name="Text Placeholder 12">
            <a:extLst>
              <a:ext uri="{FF2B5EF4-FFF2-40B4-BE49-F238E27FC236}">
                <a16:creationId xmlns:a16="http://schemas.microsoft.com/office/drawing/2014/main" id="{5C872AD5-8C1C-1B4A-8B84-AE73DCF17E78}"/>
              </a:ext>
            </a:extLst>
          </p:cNvPr>
          <p:cNvSpPr>
            <a:spLocks noGrp="1"/>
          </p:cNvSpPr>
          <p:nvPr>
            <p:ph type="body" sz="quarter" idx="14" hasCustomPrompt="1"/>
          </p:nvPr>
        </p:nvSpPr>
        <p:spPr>
          <a:xfrm>
            <a:off x="-6312" y="1141368"/>
            <a:ext cx="6091200" cy="1200779"/>
          </a:xfrm>
          <a:noFill/>
        </p:spPr>
        <p:txBody>
          <a:bodyPr lIns="360000" tIns="360000" rIns="360000" bIns="360000" anchor="b" anchorCtr="0">
            <a:normAutofit/>
          </a:bodyPr>
          <a:lstStyle>
            <a:lvl1pPr marL="0" indent="0">
              <a:lnSpc>
                <a:spcPct val="100000"/>
              </a:lnSpc>
              <a:spcBef>
                <a:spcPts val="300"/>
              </a:spcBef>
              <a:buNone/>
              <a:defRPr sz="2200" b="1" i="0" spc="-150">
                <a:solidFill>
                  <a:srgbClr val="79787F"/>
                </a:solidFill>
                <a:latin typeface="Arial Black" panose="020B0604020202020204" pitchFamily="34" charset="0"/>
                <a:cs typeface="Arial Black" panose="020B0604020202020204" pitchFamily="34" charset="0"/>
              </a:defRPr>
            </a:lvl1pPr>
          </a:lstStyle>
          <a:p>
            <a:pPr lvl="0"/>
            <a:r>
              <a:rPr lang="en-US" dirty="0" err="1"/>
              <a:t>Loreum</a:t>
            </a:r>
            <a:r>
              <a:rPr lang="en-US" dirty="0"/>
              <a:t> Ipsum</a:t>
            </a:r>
          </a:p>
        </p:txBody>
      </p:sp>
      <p:sp>
        <p:nvSpPr>
          <p:cNvPr id="8" name="Text Placeholder 7">
            <a:extLst>
              <a:ext uri="{FF2B5EF4-FFF2-40B4-BE49-F238E27FC236}">
                <a16:creationId xmlns:a16="http://schemas.microsoft.com/office/drawing/2014/main" id="{F830BF3E-8EC4-134A-B454-E5DADCD9A878}"/>
              </a:ext>
            </a:extLst>
          </p:cNvPr>
          <p:cNvSpPr>
            <a:spLocks noGrp="1"/>
          </p:cNvSpPr>
          <p:nvPr>
            <p:ph type="body" sz="quarter" idx="15" hasCustomPrompt="1"/>
          </p:nvPr>
        </p:nvSpPr>
        <p:spPr>
          <a:xfrm>
            <a:off x="0" y="2340829"/>
            <a:ext cx="6084888" cy="3259506"/>
          </a:xfrm>
          <a:noFill/>
        </p:spPr>
        <p:txBody>
          <a:bodyPr lIns="360000" rIns="360000" bIns="360000">
            <a:noAutofit/>
          </a:bodyPr>
          <a:lstStyle>
            <a:lvl1pPr marL="228600" marR="0" indent="-228600" algn="l" defTabSz="914400" rtl="0" eaLnBrk="1" fontAlgn="auto" latinLnBrk="0" hangingPunct="1">
              <a:lnSpc>
                <a:spcPct val="120000"/>
              </a:lnSpc>
              <a:spcBef>
                <a:spcPts val="1200"/>
              </a:spcBef>
              <a:spcAft>
                <a:spcPts val="0"/>
              </a:spcAft>
              <a:buClr>
                <a:schemeClr val="accent1"/>
              </a:buClr>
              <a:buSzTx/>
              <a:buFont typeface="+mj-lt"/>
              <a:buAutoNum type="arabicPeriod"/>
              <a:tabLst/>
              <a:defRPr sz="1400">
                <a:solidFill>
                  <a:schemeClr val="tx1"/>
                </a:solidFill>
              </a:defRPr>
            </a:lvl1pPr>
          </a:lstStyle>
          <a:p>
            <a:pPr lvl="0"/>
            <a:r>
              <a:rPr lang="en-GB" dirty="0" err="1"/>
              <a:t>Loreum</a:t>
            </a:r>
            <a:r>
              <a:rPr lang="en-GB" dirty="0"/>
              <a:t> Ipsum is simply dummy text of the printing and typesetting industry.</a:t>
            </a:r>
          </a:p>
          <a:p>
            <a:pPr lvl="0"/>
            <a:r>
              <a:rPr lang="en-GB" dirty="0" err="1"/>
              <a:t>Loreum</a:t>
            </a:r>
            <a:r>
              <a:rPr lang="en-GB" dirty="0"/>
              <a:t> Ipsum has been the industry’s standard dummy text ever since the 1500s, when an unknown printer took a galley of type and scrambled it to make a type specimen book.</a:t>
            </a:r>
          </a:p>
          <a:p>
            <a:pPr lvl="0"/>
            <a:r>
              <a:rPr lang="en-GB" dirty="0" err="1"/>
              <a:t>Loreum</a:t>
            </a:r>
            <a:r>
              <a:rPr lang="en-GB" dirty="0"/>
              <a:t> Ipsum is simply dummy text of the printing and typesetting industry.</a:t>
            </a:r>
          </a:p>
          <a:p>
            <a:pPr marL="228600" marR="0" lvl="0" indent="-228600" algn="l" defTabSz="914400" rtl="0" eaLnBrk="1" fontAlgn="auto" latinLnBrk="0" hangingPunct="1">
              <a:lnSpc>
                <a:spcPct val="120000"/>
              </a:lnSpc>
              <a:spcBef>
                <a:spcPts val="1200"/>
              </a:spcBef>
              <a:spcAft>
                <a:spcPts val="0"/>
              </a:spcAft>
              <a:buClr>
                <a:schemeClr val="accent1"/>
              </a:buClr>
              <a:buSzTx/>
              <a:tabLst/>
              <a:defRPr/>
            </a:pPr>
            <a:r>
              <a:rPr lang="en-GB" dirty="0" err="1"/>
              <a:t>Loreum</a:t>
            </a:r>
            <a:r>
              <a:rPr lang="en-GB" dirty="0"/>
              <a:t> Ipsum has been the industry’s standard dummy text ever since the 1500s, when an unknown printer took a galley of type and scrambled it to make a type specimen book.</a:t>
            </a:r>
          </a:p>
          <a:p>
            <a:pPr lvl="0"/>
            <a:endParaRPr lang="en-GB" dirty="0"/>
          </a:p>
        </p:txBody>
      </p:sp>
      <p:sp>
        <p:nvSpPr>
          <p:cNvPr id="16" name="Slide Number Placeholder 15">
            <a:extLst>
              <a:ext uri="{FF2B5EF4-FFF2-40B4-BE49-F238E27FC236}">
                <a16:creationId xmlns:a16="http://schemas.microsoft.com/office/drawing/2014/main" id="{4CB311B2-A433-1D4D-B416-F795C00B32CE}"/>
              </a:ext>
            </a:extLst>
          </p:cNvPr>
          <p:cNvSpPr>
            <a:spLocks noGrp="1"/>
          </p:cNvSpPr>
          <p:nvPr>
            <p:ph type="sldNum" sz="quarter" idx="16"/>
          </p:nvPr>
        </p:nvSpPr>
        <p:spPr/>
        <p:txBody>
          <a:bodyPr/>
          <a:lstStyle/>
          <a:p>
            <a:fld id="{9A0F7689-66CB-EC4F-9B5C-9C3D3ED1F24F}" type="slidenum">
              <a:rPr lang="en-US" smtClean="0"/>
              <a:pPr/>
              <a:t>‹#›</a:t>
            </a:fld>
            <a:endParaRPr lang="en-US" dirty="0"/>
          </a:p>
        </p:txBody>
      </p:sp>
      <p:cxnSp>
        <p:nvCxnSpPr>
          <p:cNvPr id="20" name="Straight Connector 19">
            <a:extLst>
              <a:ext uri="{FF2B5EF4-FFF2-40B4-BE49-F238E27FC236}">
                <a16:creationId xmlns:a16="http://schemas.microsoft.com/office/drawing/2014/main" id="{212C4CEA-BB38-DB41-9697-6C66BA835207}"/>
              </a:ext>
            </a:extLst>
          </p:cNvPr>
          <p:cNvCxnSpPr>
            <a:cxnSpLocks/>
          </p:cNvCxnSpPr>
          <p:nvPr userDrawn="1"/>
        </p:nvCxnSpPr>
        <p:spPr>
          <a:xfrm flipV="1">
            <a:off x="352425" y="2168524"/>
            <a:ext cx="360000" cy="1"/>
          </a:xfrm>
          <a:prstGeom prst="line">
            <a:avLst/>
          </a:prstGeom>
          <a:ln w="412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311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66">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with Photo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3A57AE-F575-8045-AA77-270E1E606BAD}"/>
              </a:ext>
            </a:extLst>
          </p:cNvPr>
          <p:cNvSpPr/>
          <p:nvPr userDrawn="1"/>
        </p:nvSpPr>
        <p:spPr>
          <a:xfrm>
            <a:off x="9193306" y="0"/>
            <a:ext cx="29986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Rectangle 1">
            <a:extLst>
              <a:ext uri="{FF2B5EF4-FFF2-40B4-BE49-F238E27FC236}">
                <a16:creationId xmlns:a16="http://schemas.microsoft.com/office/drawing/2014/main" id="{6594DA25-C784-7842-B9E7-159A55176936}"/>
              </a:ext>
            </a:extLst>
          </p:cNvPr>
          <p:cNvSpPr/>
          <p:nvPr userDrawn="1"/>
        </p:nvSpPr>
        <p:spPr>
          <a:xfrm>
            <a:off x="6107112" y="1134443"/>
            <a:ext cx="6084888" cy="4476648"/>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8" name="Text Placeholder 12">
            <a:extLst>
              <a:ext uri="{FF2B5EF4-FFF2-40B4-BE49-F238E27FC236}">
                <a16:creationId xmlns:a16="http://schemas.microsoft.com/office/drawing/2014/main" id="{5C872AD5-8C1C-1B4A-8B84-AE73DCF17E78}"/>
              </a:ext>
            </a:extLst>
          </p:cNvPr>
          <p:cNvSpPr>
            <a:spLocks noGrp="1"/>
          </p:cNvSpPr>
          <p:nvPr>
            <p:ph type="body" sz="quarter" idx="14" hasCustomPrompt="1"/>
          </p:nvPr>
        </p:nvSpPr>
        <p:spPr>
          <a:xfrm>
            <a:off x="6100800" y="1141368"/>
            <a:ext cx="6091200" cy="1200779"/>
          </a:xfrm>
          <a:noFill/>
        </p:spPr>
        <p:txBody>
          <a:bodyPr lIns="360000" tIns="360000" rIns="360000" bIns="360000" anchor="b" anchorCtr="0">
            <a:normAutofit/>
          </a:bodyPr>
          <a:lstStyle>
            <a:lvl1pPr marL="0" indent="0">
              <a:lnSpc>
                <a:spcPct val="100000"/>
              </a:lnSpc>
              <a:spcBef>
                <a:spcPts val="300"/>
              </a:spcBef>
              <a:buNone/>
              <a:defRPr sz="2200" b="1" i="0" spc="-150">
                <a:solidFill>
                  <a:schemeClr val="bg2"/>
                </a:solidFill>
                <a:latin typeface="Arial Black" panose="020B0604020202020204" pitchFamily="34" charset="0"/>
                <a:cs typeface="Arial Black" panose="020B0604020202020204" pitchFamily="34" charset="0"/>
              </a:defRPr>
            </a:lvl1pPr>
          </a:lstStyle>
          <a:p>
            <a:pPr lvl="0"/>
            <a:r>
              <a:rPr lang="en-US" dirty="0" err="1"/>
              <a:t>Loreum</a:t>
            </a:r>
            <a:r>
              <a:rPr lang="en-US" dirty="0"/>
              <a:t> Ipsum</a:t>
            </a:r>
          </a:p>
        </p:txBody>
      </p:sp>
      <p:sp>
        <p:nvSpPr>
          <p:cNvPr id="8" name="Text Placeholder 7">
            <a:extLst>
              <a:ext uri="{FF2B5EF4-FFF2-40B4-BE49-F238E27FC236}">
                <a16:creationId xmlns:a16="http://schemas.microsoft.com/office/drawing/2014/main" id="{F830BF3E-8EC4-134A-B454-E5DADCD9A878}"/>
              </a:ext>
            </a:extLst>
          </p:cNvPr>
          <p:cNvSpPr>
            <a:spLocks noGrp="1"/>
          </p:cNvSpPr>
          <p:nvPr>
            <p:ph type="body" sz="quarter" idx="15" hasCustomPrompt="1"/>
          </p:nvPr>
        </p:nvSpPr>
        <p:spPr>
          <a:xfrm>
            <a:off x="6107112" y="2340829"/>
            <a:ext cx="6084888" cy="3259506"/>
          </a:xfrm>
          <a:noFill/>
        </p:spPr>
        <p:txBody>
          <a:bodyPr lIns="360000" rIns="360000" bIns="360000">
            <a:noAutofit/>
          </a:bodyPr>
          <a:lstStyle>
            <a:lvl1pPr marL="228600" marR="0" indent="-228600" algn="l" defTabSz="914400" rtl="0" eaLnBrk="1" fontAlgn="auto" latinLnBrk="0" hangingPunct="1">
              <a:lnSpc>
                <a:spcPct val="120000"/>
              </a:lnSpc>
              <a:spcBef>
                <a:spcPts val="1200"/>
              </a:spcBef>
              <a:spcAft>
                <a:spcPts val="0"/>
              </a:spcAft>
              <a:buClr>
                <a:schemeClr val="accent1"/>
              </a:buClr>
              <a:buSzTx/>
              <a:buFont typeface="+mj-lt"/>
              <a:buAutoNum type="arabicPeriod"/>
              <a:tabLst/>
              <a:defRPr sz="1400">
                <a:solidFill>
                  <a:schemeClr val="bg2"/>
                </a:solidFill>
              </a:defRPr>
            </a:lvl1pPr>
          </a:lstStyle>
          <a:p>
            <a:pPr lvl="0"/>
            <a:r>
              <a:rPr lang="en-GB" dirty="0" err="1"/>
              <a:t>Loreum</a:t>
            </a:r>
            <a:r>
              <a:rPr lang="en-GB" dirty="0"/>
              <a:t> Ipsum is simply dummy text of the printing and typesetting industry.</a:t>
            </a:r>
          </a:p>
          <a:p>
            <a:pPr lvl="0"/>
            <a:r>
              <a:rPr lang="en-GB" dirty="0" err="1"/>
              <a:t>Loreum</a:t>
            </a:r>
            <a:r>
              <a:rPr lang="en-GB" dirty="0"/>
              <a:t> Ipsum has been the industry’s standard dummy text ever since the 1500s, when an unknown printer took a galley of type and scrambled it to make a type specimen book.</a:t>
            </a:r>
          </a:p>
          <a:p>
            <a:pPr lvl="0"/>
            <a:r>
              <a:rPr lang="en-GB" dirty="0" err="1"/>
              <a:t>Loreum</a:t>
            </a:r>
            <a:r>
              <a:rPr lang="en-GB" dirty="0"/>
              <a:t> Ipsum is simply dummy text of the printing and typesetting industry.</a:t>
            </a:r>
          </a:p>
          <a:p>
            <a:pPr marL="228600" marR="0" lvl="0" indent="-228600" algn="l" defTabSz="914400" rtl="0" eaLnBrk="1" fontAlgn="auto" latinLnBrk="0" hangingPunct="1">
              <a:lnSpc>
                <a:spcPct val="120000"/>
              </a:lnSpc>
              <a:spcBef>
                <a:spcPts val="1200"/>
              </a:spcBef>
              <a:spcAft>
                <a:spcPts val="0"/>
              </a:spcAft>
              <a:buClr>
                <a:schemeClr val="accent1"/>
              </a:buClr>
              <a:buSzTx/>
              <a:tabLst/>
              <a:defRPr/>
            </a:pPr>
            <a:r>
              <a:rPr lang="en-GB" dirty="0" err="1"/>
              <a:t>Loreum</a:t>
            </a:r>
            <a:r>
              <a:rPr lang="en-GB" dirty="0"/>
              <a:t> Ipsum has been the industry’s standard dummy text ever since the 1500s, when an unknown printer took a galley of type and scrambled it to make a type specimen book.</a:t>
            </a:r>
          </a:p>
          <a:p>
            <a:pPr lvl="0"/>
            <a:endParaRPr lang="en-GB" dirty="0"/>
          </a:p>
        </p:txBody>
      </p:sp>
      <p:sp>
        <p:nvSpPr>
          <p:cNvPr id="16" name="Slide Number Placeholder 15">
            <a:extLst>
              <a:ext uri="{FF2B5EF4-FFF2-40B4-BE49-F238E27FC236}">
                <a16:creationId xmlns:a16="http://schemas.microsoft.com/office/drawing/2014/main" id="{4CB311B2-A433-1D4D-B416-F795C00B32CE}"/>
              </a:ext>
            </a:extLst>
          </p:cNvPr>
          <p:cNvSpPr>
            <a:spLocks noGrp="1"/>
          </p:cNvSpPr>
          <p:nvPr>
            <p:ph type="sldNum" sz="quarter" idx="16"/>
          </p:nvPr>
        </p:nvSpPr>
        <p:spPr/>
        <p:txBody>
          <a:bodyPr/>
          <a:lstStyle/>
          <a:p>
            <a:fld id="{9A0F7689-66CB-EC4F-9B5C-9C3D3ED1F24F}" type="slidenum">
              <a:rPr lang="en-US" smtClean="0"/>
              <a:pPr/>
              <a:t>‹#›</a:t>
            </a:fld>
            <a:endParaRPr lang="en-US" dirty="0"/>
          </a:p>
        </p:txBody>
      </p:sp>
      <p:cxnSp>
        <p:nvCxnSpPr>
          <p:cNvPr id="20" name="Straight Connector 19">
            <a:extLst>
              <a:ext uri="{FF2B5EF4-FFF2-40B4-BE49-F238E27FC236}">
                <a16:creationId xmlns:a16="http://schemas.microsoft.com/office/drawing/2014/main" id="{212C4CEA-BB38-DB41-9697-6C66BA835207}"/>
              </a:ext>
            </a:extLst>
          </p:cNvPr>
          <p:cNvCxnSpPr>
            <a:cxnSpLocks/>
          </p:cNvCxnSpPr>
          <p:nvPr userDrawn="1"/>
        </p:nvCxnSpPr>
        <p:spPr>
          <a:xfrm flipV="1">
            <a:off x="6459537" y="2168524"/>
            <a:ext cx="360000" cy="1"/>
          </a:xfrm>
          <a:prstGeom prst="line">
            <a:avLst/>
          </a:prstGeom>
          <a:ln w="412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3297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6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73149"/>
            <a:ext cx="5648400" cy="523557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6196405" y="1073150"/>
            <a:ext cx="5648400" cy="5235575"/>
          </a:xfrm>
        </p:spPr>
        <p:txBody>
          <a:bodyPr/>
          <a:lstStyle/>
          <a:p>
            <a:r>
              <a:rPr lang="en-US" dirty="0"/>
              <a:t>Lorem Ipsum is simply dummy text of the printing and typesetting industry. </a:t>
            </a:r>
          </a:p>
          <a:p>
            <a:r>
              <a:rPr lang="en-US" dirty="0"/>
              <a:t>Lorem Ipsum has been the industry's standard dummy text ever.</a:t>
            </a:r>
          </a:p>
        </p:txBody>
      </p:sp>
    </p:spTree>
    <p:extLst>
      <p:ext uri="{BB962C8B-B14F-4D97-AF65-F5344CB8AC3E}">
        <p14:creationId xmlns:p14="http://schemas.microsoft.com/office/powerpoint/2010/main" val="354665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ext 2 Columns with Top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59999" y="1252799"/>
            <a:ext cx="56484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6195600" y="1252800"/>
            <a:ext cx="5648400" cy="5055925"/>
          </a:xfrm>
        </p:spPr>
        <p:txBody>
          <a:bodyPr/>
          <a:lstStyle/>
          <a:p>
            <a:r>
              <a:rPr lang="en-US" dirty="0"/>
              <a:t>Lorem Ipsum is simply dummy text of the printing and typesetting industry. </a:t>
            </a:r>
          </a:p>
          <a:p>
            <a:r>
              <a:rPr lang="en-US" dirty="0"/>
              <a:t>Lorem Ipsum has been the industry's standard dummy text ever.</a:t>
            </a:r>
          </a:p>
        </p:txBody>
      </p:sp>
      <p:cxnSp>
        <p:nvCxnSpPr>
          <p:cNvPr id="6" name="Straight Connector 5">
            <a:extLst>
              <a:ext uri="{FF2B5EF4-FFF2-40B4-BE49-F238E27FC236}">
                <a16:creationId xmlns:a16="http://schemas.microsoft.com/office/drawing/2014/main" id="{C6BA8A1F-48CF-9945-A70D-6B575BDFBF02}"/>
              </a:ext>
            </a:extLst>
          </p:cNvPr>
          <p:cNvCxnSpPr/>
          <p:nvPr userDrawn="1"/>
        </p:nvCxnSpPr>
        <p:spPr>
          <a:xfrm>
            <a:off x="359999" y="1072800"/>
            <a:ext cx="5634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7738225-91EF-FC49-934F-C1F4FD54EC80}"/>
              </a:ext>
            </a:extLst>
          </p:cNvPr>
          <p:cNvCxnSpPr/>
          <p:nvPr userDrawn="1"/>
        </p:nvCxnSpPr>
        <p:spPr>
          <a:xfrm>
            <a:off x="6195600" y="1072800"/>
            <a:ext cx="56340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781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tyle 1) 5 Colored Columns" preserve="1">
  <p:cSld name="(Style 1) 5 Colored Columns">
    <p:spTree>
      <p:nvGrpSpPr>
        <p:cNvPr id="1" name="Shape 87"/>
        <p:cNvGrpSpPr/>
        <p:nvPr/>
      </p:nvGrpSpPr>
      <p:grpSpPr>
        <a:xfrm>
          <a:off x="0" y="0"/>
          <a:ext cx="0" cy="0"/>
          <a:chOff x="0" y="0"/>
          <a:chExt cx="0" cy="0"/>
        </a:xfrm>
      </p:grpSpPr>
      <p:sp>
        <p:nvSpPr>
          <p:cNvPr id="88" name="Google Shape;88;p84"/>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 name="Google Shape;89;p84"/>
          <p:cNvSpPr txBox="1">
            <a:spLocks noGrp="1"/>
          </p:cNvSpPr>
          <p:nvPr>
            <p:ph type="body" idx="1"/>
          </p:nvPr>
        </p:nvSpPr>
        <p:spPr>
          <a:xfrm>
            <a:off x="360000" y="1080000"/>
            <a:ext cx="20574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 name="Google Shape;90;p84"/>
          <p:cNvSpPr txBox="1">
            <a:spLocks noGrp="1"/>
          </p:cNvSpPr>
          <p:nvPr>
            <p:ph type="body" idx="2"/>
          </p:nvPr>
        </p:nvSpPr>
        <p:spPr>
          <a:xfrm>
            <a:off x="2712364" y="1080000"/>
            <a:ext cx="20574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 name="Google Shape;91;p84"/>
          <p:cNvSpPr txBox="1">
            <a:spLocks noGrp="1"/>
          </p:cNvSpPr>
          <p:nvPr>
            <p:ph type="body" idx="3"/>
          </p:nvPr>
        </p:nvSpPr>
        <p:spPr>
          <a:xfrm>
            <a:off x="7417092" y="1080000"/>
            <a:ext cx="20574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 name="Google Shape;92;p84"/>
          <p:cNvSpPr txBox="1">
            <a:spLocks noGrp="1"/>
          </p:cNvSpPr>
          <p:nvPr>
            <p:ph type="body" idx="4"/>
          </p:nvPr>
        </p:nvSpPr>
        <p:spPr>
          <a:xfrm>
            <a:off x="5064728" y="1080000"/>
            <a:ext cx="20574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84"/>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94" name="Google Shape;94;p84"/>
          <p:cNvSpPr txBox="1">
            <a:spLocks noGrp="1"/>
          </p:cNvSpPr>
          <p:nvPr>
            <p:ph type="body" idx="5"/>
          </p:nvPr>
        </p:nvSpPr>
        <p:spPr>
          <a:xfrm>
            <a:off x="9769456" y="1080000"/>
            <a:ext cx="20574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84"/>
          <p:cNvSpPr txBox="1">
            <a:spLocks noGrp="1"/>
          </p:cNvSpPr>
          <p:nvPr>
            <p:ph type="body" idx="6"/>
          </p:nvPr>
        </p:nvSpPr>
        <p:spPr>
          <a:xfrm>
            <a:off x="360364" y="5337900"/>
            <a:ext cx="20592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84"/>
          <p:cNvSpPr txBox="1">
            <a:spLocks noGrp="1"/>
          </p:cNvSpPr>
          <p:nvPr>
            <p:ph type="body" idx="7"/>
          </p:nvPr>
        </p:nvSpPr>
        <p:spPr>
          <a:xfrm>
            <a:off x="2711679" y="5337900"/>
            <a:ext cx="20592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84"/>
          <p:cNvSpPr txBox="1">
            <a:spLocks noGrp="1"/>
          </p:cNvSpPr>
          <p:nvPr>
            <p:ph type="body" idx="8"/>
          </p:nvPr>
        </p:nvSpPr>
        <p:spPr>
          <a:xfrm>
            <a:off x="5062993" y="5337900"/>
            <a:ext cx="20592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 name="Google Shape;98;p84"/>
          <p:cNvSpPr txBox="1">
            <a:spLocks noGrp="1"/>
          </p:cNvSpPr>
          <p:nvPr>
            <p:ph type="body" idx="9"/>
          </p:nvPr>
        </p:nvSpPr>
        <p:spPr>
          <a:xfrm>
            <a:off x="7420545" y="5337900"/>
            <a:ext cx="20592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 name="Google Shape;99;p84"/>
          <p:cNvSpPr txBox="1">
            <a:spLocks noGrp="1"/>
          </p:cNvSpPr>
          <p:nvPr>
            <p:ph type="body" idx="13"/>
          </p:nvPr>
        </p:nvSpPr>
        <p:spPr>
          <a:xfrm>
            <a:off x="9775780" y="5337900"/>
            <a:ext cx="2059200"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42900" algn="l">
              <a:lnSpc>
                <a:spcPct val="120000"/>
              </a:lnSpc>
              <a:spcBef>
                <a:spcPts val="1200"/>
              </a:spcBef>
              <a:spcAft>
                <a:spcPts val="0"/>
              </a:spcAft>
              <a:buSzPts val="18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7403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3 Columns with Top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252799"/>
            <a:ext cx="37044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6" name="Text Placeholder 4">
            <a:extLst>
              <a:ext uri="{FF2B5EF4-FFF2-40B4-BE49-F238E27FC236}">
                <a16:creationId xmlns:a16="http://schemas.microsoft.com/office/drawing/2014/main" id="{F5F23DA4-4D19-B744-B1EB-91AECBD4698C}"/>
              </a:ext>
            </a:extLst>
          </p:cNvPr>
          <p:cNvSpPr>
            <a:spLocks noGrp="1"/>
          </p:cNvSpPr>
          <p:nvPr>
            <p:ph type="body" sz="quarter" idx="12" hasCustomPrompt="1"/>
          </p:nvPr>
        </p:nvSpPr>
        <p:spPr>
          <a:xfrm>
            <a:off x="4240800" y="1252800"/>
            <a:ext cx="37044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8121600" y="1252800"/>
            <a:ext cx="3704400" cy="5055925"/>
          </a:xfrm>
        </p:spPr>
        <p:txBody>
          <a:bodyPr/>
          <a:lstStyle/>
          <a:p>
            <a:r>
              <a:rPr lang="en-US" dirty="0"/>
              <a:t>Lorem Ipsum is simply dummy text of the printing and typesetting industry. </a:t>
            </a:r>
          </a:p>
          <a:p>
            <a:r>
              <a:rPr lang="en-US" dirty="0"/>
              <a:t>Lorem Ipsum has been the industry's standard dummy text ever.</a:t>
            </a:r>
          </a:p>
        </p:txBody>
      </p:sp>
      <p:cxnSp>
        <p:nvCxnSpPr>
          <p:cNvPr id="8" name="Straight Connector 7">
            <a:extLst>
              <a:ext uri="{FF2B5EF4-FFF2-40B4-BE49-F238E27FC236}">
                <a16:creationId xmlns:a16="http://schemas.microsoft.com/office/drawing/2014/main" id="{389979D2-9546-6642-AD97-2A74A163F1C1}"/>
              </a:ext>
            </a:extLst>
          </p:cNvPr>
          <p:cNvCxnSpPr>
            <a:cxnSpLocks/>
          </p:cNvCxnSpPr>
          <p:nvPr userDrawn="1"/>
        </p:nvCxnSpPr>
        <p:spPr>
          <a:xfrm>
            <a:off x="360985" y="1073150"/>
            <a:ext cx="37044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D974731-A111-B147-B264-C017E9221676}"/>
              </a:ext>
            </a:extLst>
          </p:cNvPr>
          <p:cNvCxnSpPr>
            <a:cxnSpLocks/>
          </p:cNvCxnSpPr>
          <p:nvPr userDrawn="1"/>
        </p:nvCxnSpPr>
        <p:spPr>
          <a:xfrm>
            <a:off x="4240800" y="1073150"/>
            <a:ext cx="37044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DB344A-EBA1-4C45-AD43-7654A2D2204E}"/>
              </a:ext>
            </a:extLst>
          </p:cNvPr>
          <p:cNvCxnSpPr>
            <a:cxnSpLocks/>
          </p:cNvCxnSpPr>
          <p:nvPr userDrawn="1"/>
        </p:nvCxnSpPr>
        <p:spPr>
          <a:xfrm>
            <a:off x="8121600" y="1073150"/>
            <a:ext cx="37044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3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4 Columns with Top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lvl1pPr>
              <a:defRPr lang="ar-SA"/>
            </a:lvl1pPr>
          </a:lstStyle>
          <a:p>
            <a:r>
              <a:rPr lang="en-US"/>
              <a:t>Click to edit Master title style</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252799"/>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1" name="Text Placeholder 4">
            <a:extLst>
              <a:ext uri="{FF2B5EF4-FFF2-40B4-BE49-F238E27FC236}">
                <a16:creationId xmlns:a16="http://schemas.microsoft.com/office/drawing/2014/main" id="{582712A1-BA48-D248-92B3-1C204F8C708A}"/>
              </a:ext>
            </a:extLst>
          </p:cNvPr>
          <p:cNvSpPr>
            <a:spLocks noGrp="1"/>
          </p:cNvSpPr>
          <p:nvPr>
            <p:ph type="body" sz="quarter" idx="12" hasCustomPrompt="1"/>
          </p:nvPr>
        </p:nvSpPr>
        <p:spPr>
          <a:xfrm>
            <a:off x="3272400" y="1252800"/>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2" name="Text Placeholder 4">
            <a:extLst>
              <a:ext uri="{FF2B5EF4-FFF2-40B4-BE49-F238E27FC236}">
                <a16:creationId xmlns:a16="http://schemas.microsoft.com/office/drawing/2014/main" id="{EC58281E-D983-0A4C-A59B-3618E7C00AF6}"/>
              </a:ext>
            </a:extLst>
          </p:cNvPr>
          <p:cNvSpPr>
            <a:spLocks noGrp="1"/>
          </p:cNvSpPr>
          <p:nvPr>
            <p:ph type="body" sz="quarter" idx="13" hasCustomPrompt="1"/>
          </p:nvPr>
        </p:nvSpPr>
        <p:spPr>
          <a:xfrm>
            <a:off x="6181200" y="1252800"/>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3" name="Text Placeholder 4">
            <a:extLst>
              <a:ext uri="{FF2B5EF4-FFF2-40B4-BE49-F238E27FC236}">
                <a16:creationId xmlns:a16="http://schemas.microsoft.com/office/drawing/2014/main" id="{927FDE60-62D3-8247-84CA-F8C9065D70FF}"/>
              </a:ext>
            </a:extLst>
          </p:cNvPr>
          <p:cNvSpPr>
            <a:spLocks noGrp="1"/>
          </p:cNvSpPr>
          <p:nvPr>
            <p:ph type="body" sz="quarter" idx="14" hasCustomPrompt="1"/>
          </p:nvPr>
        </p:nvSpPr>
        <p:spPr>
          <a:xfrm>
            <a:off x="9093600" y="1252800"/>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cxnSp>
        <p:nvCxnSpPr>
          <p:cNvPr id="14" name="Straight Connector 13">
            <a:extLst>
              <a:ext uri="{FF2B5EF4-FFF2-40B4-BE49-F238E27FC236}">
                <a16:creationId xmlns:a16="http://schemas.microsoft.com/office/drawing/2014/main" id="{E0AE41BC-A002-EF46-BADA-8851CD5BCC04}"/>
              </a:ext>
            </a:extLst>
          </p:cNvPr>
          <p:cNvCxnSpPr>
            <a:cxnSpLocks/>
          </p:cNvCxnSpPr>
          <p:nvPr userDrawn="1"/>
        </p:nvCxnSpPr>
        <p:spPr>
          <a:xfrm>
            <a:off x="360985"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B95E4A1-CF6C-8549-B7F8-2F6837AA270C}"/>
              </a:ext>
            </a:extLst>
          </p:cNvPr>
          <p:cNvCxnSpPr>
            <a:cxnSpLocks/>
          </p:cNvCxnSpPr>
          <p:nvPr userDrawn="1"/>
        </p:nvCxnSpPr>
        <p:spPr>
          <a:xfrm>
            <a:off x="3271478"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4D6CBF8-AB61-FF46-B3DD-477614F69FCC}"/>
              </a:ext>
            </a:extLst>
          </p:cNvPr>
          <p:cNvCxnSpPr>
            <a:cxnSpLocks/>
          </p:cNvCxnSpPr>
          <p:nvPr userDrawn="1"/>
        </p:nvCxnSpPr>
        <p:spPr>
          <a:xfrm>
            <a:off x="6181971"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9884E31-3F24-3545-A4FE-8E176BBB15A0}"/>
              </a:ext>
            </a:extLst>
          </p:cNvPr>
          <p:cNvCxnSpPr>
            <a:cxnSpLocks/>
          </p:cNvCxnSpPr>
          <p:nvPr userDrawn="1"/>
        </p:nvCxnSpPr>
        <p:spPr>
          <a:xfrm>
            <a:off x="9092463"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34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lvl1pPr>
              <a:defRPr lang="ar-SA"/>
            </a:lvl1p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73149"/>
            <a:ext cx="2736000" cy="523557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1" name="Text Placeholder 4">
            <a:extLst>
              <a:ext uri="{FF2B5EF4-FFF2-40B4-BE49-F238E27FC236}">
                <a16:creationId xmlns:a16="http://schemas.microsoft.com/office/drawing/2014/main" id="{582712A1-BA48-D248-92B3-1C204F8C708A}"/>
              </a:ext>
            </a:extLst>
          </p:cNvPr>
          <p:cNvSpPr>
            <a:spLocks noGrp="1"/>
          </p:cNvSpPr>
          <p:nvPr>
            <p:ph type="body" sz="quarter" idx="12" hasCustomPrompt="1"/>
          </p:nvPr>
        </p:nvSpPr>
        <p:spPr>
          <a:xfrm>
            <a:off x="3272400" y="1073150"/>
            <a:ext cx="2736000" cy="523557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2" name="Text Placeholder 4">
            <a:extLst>
              <a:ext uri="{FF2B5EF4-FFF2-40B4-BE49-F238E27FC236}">
                <a16:creationId xmlns:a16="http://schemas.microsoft.com/office/drawing/2014/main" id="{EC58281E-D983-0A4C-A59B-3618E7C00AF6}"/>
              </a:ext>
            </a:extLst>
          </p:cNvPr>
          <p:cNvSpPr>
            <a:spLocks noGrp="1"/>
          </p:cNvSpPr>
          <p:nvPr>
            <p:ph type="body" sz="quarter" idx="13" hasCustomPrompt="1"/>
          </p:nvPr>
        </p:nvSpPr>
        <p:spPr>
          <a:xfrm>
            <a:off x="6181200" y="1073150"/>
            <a:ext cx="2736000" cy="523557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3" name="Text Placeholder 4">
            <a:extLst>
              <a:ext uri="{FF2B5EF4-FFF2-40B4-BE49-F238E27FC236}">
                <a16:creationId xmlns:a16="http://schemas.microsoft.com/office/drawing/2014/main" id="{927FDE60-62D3-8247-84CA-F8C9065D70FF}"/>
              </a:ext>
            </a:extLst>
          </p:cNvPr>
          <p:cNvSpPr>
            <a:spLocks noGrp="1"/>
          </p:cNvSpPr>
          <p:nvPr>
            <p:ph type="body" sz="quarter" idx="14" hasCustomPrompt="1"/>
          </p:nvPr>
        </p:nvSpPr>
        <p:spPr>
          <a:xfrm>
            <a:off x="9093600" y="1073150"/>
            <a:ext cx="2736000" cy="5235575"/>
          </a:xfrm>
        </p:spPr>
        <p:txBody>
          <a:bodyPr/>
          <a:lstStyle/>
          <a:p>
            <a:r>
              <a:rPr lang="en-US" dirty="0"/>
              <a:t>Lorem Ipsum is simply dummy text of the printing and typesetting industry. </a:t>
            </a:r>
          </a:p>
          <a:p>
            <a:r>
              <a:rPr lang="en-US" dirty="0"/>
              <a:t>Lorem Ipsum has been the industry's standard dummy text ever.</a:t>
            </a:r>
          </a:p>
        </p:txBody>
      </p:sp>
    </p:spTree>
    <p:extLst>
      <p:ext uri="{BB962C8B-B14F-4D97-AF65-F5344CB8AC3E}">
        <p14:creationId xmlns:p14="http://schemas.microsoft.com/office/powerpoint/2010/main" val="8310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lor Box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516DB0-A1F5-6448-9D8A-0B8D235BF230}"/>
              </a:ext>
            </a:extLst>
          </p:cNvPr>
          <p:cNvSpPr/>
          <p:nvPr userDrawn="1"/>
        </p:nvSpPr>
        <p:spPr>
          <a:xfrm>
            <a:off x="352423" y="1073149"/>
            <a:ext cx="11471619" cy="5235575"/>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59999" y="1080000"/>
            <a:ext cx="11471619"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1" name="Straight Connector 10">
            <a:extLst>
              <a:ext uri="{FF2B5EF4-FFF2-40B4-BE49-F238E27FC236}">
                <a16:creationId xmlns:a16="http://schemas.microsoft.com/office/drawing/2014/main" id="{3EC4469E-A388-164E-9305-9E4BB79F10B6}"/>
              </a:ext>
            </a:extLst>
          </p:cNvPr>
          <p:cNvCxnSpPr>
            <a:cxnSpLocks/>
          </p:cNvCxnSpPr>
          <p:nvPr userDrawn="1"/>
        </p:nvCxnSpPr>
        <p:spPr>
          <a:xfrm flipV="1">
            <a:off x="55657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9AAF16F-429D-9A49-A1A9-83820BF9A2DA}"/>
              </a:ext>
            </a:extLst>
          </p:cNvPr>
          <p:cNvSpPr>
            <a:spLocks noGrp="1"/>
          </p:cNvSpPr>
          <p:nvPr>
            <p:ph type="body" sz="quarter" idx="14"/>
          </p:nvPr>
        </p:nvSpPr>
        <p:spPr>
          <a:xfrm>
            <a:off x="359999" y="1879200"/>
            <a:ext cx="11468463" cy="4429525"/>
          </a:xfrm>
        </p:spPr>
        <p:txBody>
          <a:bodyPr lIns="180000" tIns="0" rIns="180000" bIns="180000">
            <a:normAutofit/>
          </a:bodyPr>
          <a:lstStyle>
            <a:lvl1pPr>
              <a:spcBef>
                <a:spcPts val="0"/>
              </a:spcBef>
              <a:spcAft>
                <a:spcPts val="600"/>
              </a:spcAft>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8628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2 Colo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516DB0-A1F5-6448-9D8A-0B8D235BF230}"/>
              </a:ext>
            </a:extLst>
          </p:cNvPr>
          <p:cNvSpPr/>
          <p:nvPr userDrawn="1"/>
        </p:nvSpPr>
        <p:spPr>
          <a:xfrm>
            <a:off x="352424" y="1073149"/>
            <a:ext cx="5648400" cy="5235575"/>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80000"/>
            <a:ext cx="56484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1" name="Straight Connector 10">
            <a:extLst>
              <a:ext uri="{FF2B5EF4-FFF2-40B4-BE49-F238E27FC236}">
                <a16:creationId xmlns:a16="http://schemas.microsoft.com/office/drawing/2014/main" id="{3EC4469E-A388-164E-9305-9E4BB79F10B6}"/>
              </a:ext>
            </a:extLst>
          </p:cNvPr>
          <p:cNvCxnSpPr>
            <a:cxnSpLocks/>
          </p:cNvCxnSpPr>
          <p:nvPr userDrawn="1"/>
        </p:nvCxnSpPr>
        <p:spPr>
          <a:xfrm flipV="1">
            <a:off x="55657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9AAF16F-429D-9A49-A1A9-83820BF9A2DA}"/>
              </a:ext>
            </a:extLst>
          </p:cNvPr>
          <p:cNvSpPr>
            <a:spLocks noGrp="1"/>
          </p:cNvSpPr>
          <p:nvPr>
            <p:ph type="body" sz="quarter" idx="14"/>
          </p:nvPr>
        </p:nvSpPr>
        <p:spPr>
          <a:xfrm>
            <a:off x="360000" y="1879200"/>
            <a:ext cx="5648400" cy="4429525"/>
          </a:xfrm>
        </p:spPr>
        <p:txBody>
          <a:bodyPr lIns="180000" tIns="0" rIns="180000" bIns="180000">
            <a:normAutofit/>
          </a:bodyPr>
          <a:lstStyle>
            <a:lvl1pPr>
              <a:spcBef>
                <a:spcPts val="0"/>
              </a:spcBef>
              <a:spcAft>
                <a:spcPts val="600"/>
              </a:spcAft>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846C9E07-D8BC-3E44-B996-6A08649C1478}"/>
              </a:ext>
            </a:extLst>
          </p:cNvPr>
          <p:cNvSpPr/>
          <p:nvPr userDrawn="1"/>
        </p:nvSpPr>
        <p:spPr>
          <a:xfrm>
            <a:off x="6174784" y="1073149"/>
            <a:ext cx="5648400" cy="5235575"/>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16" name="Text Placeholder 4">
            <a:extLst>
              <a:ext uri="{FF2B5EF4-FFF2-40B4-BE49-F238E27FC236}">
                <a16:creationId xmlns:a16="http://schemas.microsoft.com/office/drawing/2014/main" id="{40D26D0B-DCE1-F24F-901A-9319BB40E3DF}"/>
              </a:ext>
            </a:extLst>
          </p:cNvPr>
          <p:cNvSpPr>
            <a:spLocks noGrp="1"/>
          </p:cNvSpPr>
          <p:nvPr>
            <p:ph type="body" sz="quarter" idx="15" hasCustomPrompt="1"/>
          </p:nvPr>
        </p:nvSpPr>
        <p:spPr>
          <a:xfrm>
            <a:off x="6182360" y="1080000"/>
            <a:ext cx="56484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7" name="Straight Connector 16">
            <a:extLst>
              <a:ext uri="{FF2B5EF4-FFF2-40B4-BE49-F238E27FC236}">
                <a16:creationId xmlns:a16="http://schemas.microsoft.com/office/drawing/2014/main" id="{E68B1A3D-A89F-EC4B-991B-A70116AE5CE4}"/>
              </a:ext>
            </a:extLst>
          </p:cNvPr>
          <p:cNvCxnSpPr>
            <a:cxnSpLocks/>
          </p:cNvCxnSpPr>
          <p:nvPr userDrawn="1"/>
        </p:nvCxnSpPr>
        <p:spPr>
          <a:xfrm flipV="1">
            <a:off x="637893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805F3CF0-6A33-4CB2-9AFE-29AC53AC1CC7}"/>
              </a:ext>
            </a:extLst>
          </p:cNvPr>
          <p:cNvSpPr>
            <a:spLocks noGrp="1"/>
          </p:cNvSpPr>
          <p:nvPr>
            <p:ph type="body" sz="quarter" idx="16"/>
          </p:nvPr>
        </p:nvSpPr>
        <p:spPr>
          <a:xfrm>
            <a:off x="6182360" y="1879200"/>
            <a:ext cx="5648400" cy="442952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Tree>
    <p:extLst>
      <p:ext uri="{BB962C8B-B14F-4D97-AF65-F5344CB8AC3E}">
        <p14:creationId xmlns:p14="http://schemas.microsoft.com/office/powerpoint/2010/main" val="360361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4 Colo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516DB0-A1F5-6448-9D8A-0B8D235BF230}"/>
              </a:ext>
            </a:extLst>
          </p:cNvPr>
          <p:cNvSpPr/>
          <p:nvPr userDrawn="1"/>
        </p:nvSpPr>
        <p:spPr>
          <a:xfrm>
            <a:off x="352424" y="1073150"/>
            <a:ext cx="56484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80000"/>
            <a:ext cx="56484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1" name="Straight Connector 10">
            <a:extLst>
              <a:ext uri="{FF2B5EF4-FFF2-40B4-BE49-F238E27FC236}">
                <a16:creationId xmlns:a16="http://schemas.microsoft.com/office/drawing/2014/main" id="{3EC4469E-A388-164E-9305-9E4BB79F10B6}"/>
              </a:ext>
            </a:extLst>
          </p:cNvPr>
          <p:cNvCxnSpPr>
            <a:cxnSpLocks/>
          </p:cNvCxnSpPr>
          <p:nvPr userDrawn="1"/>
        </p:nvCxnSpPr>
        <p:spPr>
          <a:xfrm flipV="1">
            <a:off x="55657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9AAF16F-429D-9A49-A1A9-83820BF9A2DA}"/>
              </a:ext>
            </a:extLst>
          </p:cNvPr>
          <p:cNvSpPr>
            <a:spLocks noGrp="1"/>
          </p:cNvSpPr>
          <p:nvPr>
            <p:ph type="body" sz="quarter" idx="14"/>
          </p:nvPr>
        </p:nvSpPr>
        <p:spPr>
          <a:xfrm>
            <a:off x="360000" y="1879200"/>
            <a:ext cx="5648400" cy="1717675"/>
          </a:xfrm>
        </p:spPr>
        <p:txBody>
          <a:bodyPr lIns="180000" tIns="0" rIns="180000" bIns="180000">
            <a:normAutofit/>
          </a:bodyPr>
          <a:lstStyle>
            <a:lvl1pPr>
              <a:spcBef>
                <a:spcPts val="0"/>
              </a:spcBef>
              <a:spcAft>
                <a:spcPts val="600"/>
              </a:spcAft>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846C9E07-D8BC-3E44-B996-6A08649C1478}"/>
              </a:ext>
            </a:extLst>
          </p:cNvPr>
          <p:cNvSpPr/>
          <p:nvPr userDrawn="1"/>
        </p:nvSpPr>
        <p:spPr>
          <a:xfrm>
            <a:off x="6174784" y="1073150"/>
            <a:ext cx="56340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16" name="Text Placeholder 4">
            <a:extLst>
              <a:ext uri="{FF2B5EF4-FFF2-40B4-BE49-F238E27FC236}">
                <a16:creationId xmlns:a16="http://schemas.microsoft.com/office/drawing/2014/main" id="{40D26D0B-DCE1-F24F-901A-9319BB40E3DF}"/>
              </a:ext>
            </a:extLst>
          </p:cNvPr>
          <p:cNvSpPr>
            <a:spLocks noGrp="1"/>
          </p:cNvSpPr>
          <p:nvPr>
            <p:ph type="body" sz="quarter" idx="15" hasCustomPrompt="1"/>
          </p:nvPr>
        </p:nvSpPr>
        <p:spPr>
          <a:xfrm>
            <a:off x="6182360" y="108000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7" name="Straight Connector 16">
            <a:extLst>
              <a:ext uri="{FF2B5EF4-FFF2-40B4-BE49-F238E27FC236}">
                <a16:creationId xmlns:a16="http://schemas.microsoft.com/office/drawing/2014/main" id="{E68B1A3D-A89F-EC4B-991B-A70116AE5CE4}"/>
              </a:ext>
            </a:extLst>
          </p:cNvPr>
          <p:cNvCxnSpPr>
            <a:cxnSpLocks/>
          </p:cNvCxnSpPr>
          <p:nvPr userDrawn="1"/>
        </p:nvCxnSpPr>
        <p:spPr>
          <a:xfrm flipV="1">
            <a:off x="637893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61BF98EE-D932-1342-923A-A7CB76EED73D}"/>
              </a:ext>
            </a:extLst>
          </p:cNvPr>
          <p:cNvSpPr>
            <a:spLocks noGrp="1"/>
          </p:cNvSpPr>
          <p:nvPr>
            <p:ph type="body" sz="quarter" idx="16"/>
          </p:nvPr>
        </p:nvSpPr>
        <p:spPr>
          <a:xfrm>
            <a:off x="6182360" y="1879200"/>
            <a:ext cx="5632450" cy="171767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
        <p:nvSpPr>
          <p:cNvPr id="19" name="Rectangle 18">
            <a:extLst>
              <a:ext uri="{FF2B5EF4-FFF2-40B4-BE49-F238E27FC236}">
                <a16:creationId xmlns:a16="http://schemas.microsoft.com/office/drawing/2014/main" id="{374E673A-F815-2842-B0C2-A7024045B334}"/>
              </a:ext>
            </a:extLst>
          </p:cNvPr>
          <p:cNvSpPr/>
          <p:nvPr userDrawn="1"/>
        </p:nvSpPr>
        <p:spPr>
          <a:xfrm>
            <a:off x="352424" y="3786270"/>
            <a:ext cx="56484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20" name="Text Placeholder 4">
            <a:extLst>
              <a:ext uri="{FF2B5EF4-FFF2-40B4-BE49-F238E27FC236}">
                <a16:creationId xmlns:a16="http://schemas.microsoft.com/office/drawing/2014/main" id="{A03A8D2E-BA10-C04F-8920-C9BB4EDA6A73}"/>
              </a:ext>
            </a:extLst>
          </p:cNvPr>
          <p:cNvSpPr>
            <a:spLocks noGrp="1"/>
          </p:cNvSpPr>
          <p:nvPr>
            <p:ph type="body" sz="quarter" idx="17" hasCustomPrompt="1"/>
          </p:nvPr>
        </p:nvSpPr>
        <p:spPr>
          <a:xfrm>
            <a:off x="360000" y="3793120"/>
            <a:ext cx="56484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21" name="Straight Connector 20">
            <a:extLst>
              <a:ext uri="{FF2B5EF4-FFF2-40B4-BE49-F238E27FC236}">
                <a16:creationId xmlns:a16="http://schemas.microsoft.com/office/drawing/2014/main" id="{76988737-2D9E-FC47-8377-E433AE6534D6}"/>
              </a:ext>
            </a:extLst>
          </p:cNvPr>
          <p:cNvCxnSpPr>
            <a:cxnSpLocks/>
          </p:cNvCxnSpPr>
          <p:nvPr userDrawn="1"/>
        </p:nvCxnSpPr>
        <p:spPr>
          <a:xfrm flipV="1">
            <a:off x="556577" y="439396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13">
            <a:extLst>
              <a:ext uri="{FF2B5EF4-FFF2-40B4-BE49-F238E27FC236}">
                <a16:creationId xmlns:a16="http://schemas.microsoft.com/office/drawing/2014/main" id="{841FBDD8-D85D-984B-882C-3B9A54F58920}"/>
              </a:ext>
            </a:extLst>
          </p:cNvPr>
          <p:cNvSpPr>
            <a:spLocks noGrp="1"/>
          </p:cNvSpPr>
          <p:nvPr>
            <p:ph type="body" sz="quarter" idx="18"/>
          </p:nvPr>
        </p:nvSpPr>
        <p:spPr>
          <a:xfrm>
            <a:off x="360000" y="4592320"/>
            <a:ext cx="5648400" cy="171767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
        <p:nvSpPr>
          <p:cNvPr id="23" name="Rectangle 22">
            <a:extLst>
              <a:ext uri="{FF2B5EF4-FFF2-40B4-BE49-F238E27FC236}">
                <a16:creationId xmlns:a16="http://schemas.microsoft.com/office/drawing/2014/main" id="{9D10A3AD-2404-E74B-BCB3-FC9E6B9F22D8}"/>
              </a:ext>
            </a:extLst>
          </p:cNvPr>
          <p:cNvSpPr/>
          <p:nvPr userDrawn="1"/>
        </p:nvSpPr>
        <p:spPr>
          <a:xfrm>
            <a:off x="6174784" y="3786270"/>
            <a:ext cx="56340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24" name="Text Placeholder 4">
            <a:extLst>
              <a:ext uri="{FF2B5EF4-FFF2-40B4-BE49-F238E27FC236}">
                <a16:creationId xmlns:a16="http://schemas.microsoft.com/office/drawing/2014/main" id="{1EF973C2-C6DA-934B-BF19-E43FF4222F45}"/>
              </a:ext>
            </a:extLst>
          </p:cNvPr>
          <p:cNvSpPr>
            <a:spLocks noGrp="1"/>
          </p:cNvSpPr>
          <p:nvPr>
            <p:ph type="body" sz="quarter" idx="19" hasCustomPrompt="1"/>
          </p:nvPr>
        </p:nvSpPr>
        <p:spPr>
          <a:xfrm>
            <a:off x="6182360" y="379312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25" name="Straight Connector 24">
            <a:extLst>
              <a:ext uri="{FF2B5EF4-FFF2-40B4-BE49-F238E27FC236}">
                <a16:creationId xmlns:a16="http://schemas.microsoft.com/office/drawing/2014/main" id="{88915996-D79C-EB45-8ABB-452B8BFB1819}"/>
              </a:ext>
            </a:extLst>
          </p:cNvPr>
          <p:cNvCxnSpPr>
            <a:cxnSpLocks/>
          </p:cNvCxnSpPr>
          <p:nvPr userDrawn="1"/>
        </p:nvCxnSpPr>
        <p:spPr>
          <a:xfrm flipV="1">
            <a:off x="6378937" y="439396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13">
            <a:extLst>
              <a:ext uri="{FF2B5EF4-FFF2-40B4-BE49-F238E27FC236}">
                <a16:creationId xmlns:a16="http://schemas.microsoft.com/office/drawing/2014/main" id="{CCF33EFA-BFB0-764D-904D-7CE8EA4DAB9E}"/>
              </a:ext>
            </a:extLst>
          </p:cNvPr>
          <p:cNvSpPr>
            <a:spLocks noGrp="1"/>
          </p:cNvSpPr>
          <p:nvPr>
            <p:ph type="body" sz="quarter" idx="20"/>
          </p:nvPr>
        </p:nvSpPr>
        <p:spPr>
          <a:xfrm>
            <a:off x="6182360" y="4592320"/>
            <a:ext cx="5632450" cy="171767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Tree>
    <p:extLst>
      <p:ext uri="{BB962C8B-B14F-4D97-AF65-F5344CB8AC3E}">
        <p14:creationId xmlns:p14="http://schemas.microsoft.com/office/powerpoint/2010/main" val="335375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3 Column with Icons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9BA10CF-32D3-674C-8018-AF2B8C0BBF1E}"/>
              </a:ext>
            </a:extLst>
          </p:cNvPr>
          <p:cNvSpPr/>
          <p:nvPr userDrawn="1"/>
        </p:nvSpPr>
        <p:spPr>
          <a:xfrm>
            <a:off x="352425" y="2329916"/>
            <a:ext cx="3704400" cy="3978809"/>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a:lnSpc>
                <a:spcPct val="120000"/>
              </a:lnSpc>
            </a:pPr>
            <a:endParaRPr lang="en-US" sz="1400" dirty="0">
              <a:solidFill>
                <a:schemeClr val="tx2">
                  <a:lumMod val="60000"/>
                  <a:lumOff val="40000"/>
                </a:schemeClr>
              </a:solidFill>
            </a:endParaRPr>
          </a:p>
        </p:txBody>
      </p:sp>
      <p:sp>
        <p:nvSpPr>
          <p:cNvPr id="20" name="Text Placeholder 19">
            <a:extLst>
              <a:ext uri="{FF2B5EF4-FFF2-40B4-BE49-F238E27FC236}">
                <a16:creationId xmlns:a16="http://schemas.microsoft.com/office/drawing/2014/main" id="{3C50985C-0DF8-6547-BBC5-3DBEE4EFDAC6}"/>
              </a:ext>
            </a:extLst>
          </p:cNvPr>
          <p:cNvSpPr>
            <a:spLocks noGrp="1"/>
          </p:cNvSpPr>
          <p:nvPr>
            <p:ph type="body" sz="quarter" idx="15" hasCustomPrompt="1"/>
          </p:nvPr>
        </p:nvSpPr>
        <p:spPr>
          <a:xfrm>
            <a:off x="360362" y="2329915"/>
            <a:ext cx="3704400" cy="1503993"/>
          </a:xfrm>
        </p:spPr>
        <p:txBody>
          <a:bodyPr wrap="square" lIns="180000" tIns="1080000" rIns="180000">
            <a:spAutoFit/>
          </a:bodyPr>
          <a:lstStyle>
            <a:lvl1pPr marL="0" indent="0">
              <a:buNone/>
              <a:defRPr sz="2400" b="1" i="0" spc="-100" baseline="0">
                <a:solidFill>
                  <a:schemeClr val="tx1"/>
                </a:solidFill>
                <a:latin typeface="Arial Black" panose="020B0604020202020204" pitchFamily="34" charset="0"/>
                <a:cs typeface="Arial Black" panose="020B0604020202020204" pitchFamily="34" charset="0"/>
              </a:defRPr>
            </a:lvl1pPr>
          </a:lstStyle>
          <a:p>
            <a:pPr lvl="0"/>
            <a:r>
              <a:rPr lang="en-GB" dirty="0"/>
              <a:t>Column title</a:t>
            </a:r>
            <a:endParaRPr lang="ar-SA" dirty="0"/>
          </a:p>
        </p:txBody>
      </p:sp>
      <p:sp>
        <p:nvSpPr>
          <p:cNvPr id="22" name="Text Placeholder 19">
            <a:extLst>
              <a:ext uri="{FF2B5EF4-FFF2-40B4-BE49-F238E27FC236}">
                <a16:creationId xmlns:a16="http://schemas.microsoft.com/office/drawing/2014/main" id="{8106C5C1-DAF3-6448-9E49-4D8FB7C87C4E}"/>
              </a:ext>
            </a:extLst>
          </p:cNvPr>
          <p:cNvSpPr>
            <a:spLocks noGrp="1"/>
          </p:cNvSpPr>
          <p:nvPr>
            <p:ph type="body" sz="quarter" idx="16" hasCustomPrompt="1"/>
          </p:nvPr>
        </p:nvSpPr>
        <p:spPr>
          <a:xfrm>
            <a:off x="360363" y="3833908"/>
            <a:ext cx="3704400"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lvl="0"/>
            <a:r>
              <a:rPr lang="en-US" dirty="0"/>
              <a:t>List of a few</a:t>
            </a:r>
            <a:endParaRPr lang="ar-SA" dirty="0"/>
          </a:p>
        </p:txBody>
      </p:sp>
      <p:sp>
        <p:nvSpPr>
          <p:cNvPr id="17" name="Rectangle 16">
            <a:extLst>
              <a:ext uri="{FF2B5EF4-FFF2-40B4-BE49-F238E27FC236}">
                <a16:creationId xmlns:a16="http://schemas.microsoft.com/office/drawing/2014/main" id="{C5FA2491-503B-CF40-A62B-392C065F7BF9}"/>
              </a:ext>
            </a:extLst>
          </p:cNvPr>
          <p:cNvSpPr/>
          <p:nvPr userDrawn="1"/>
        </p:nvSpPr>
        <p:spPr>
          <a:xfrm>
            <a:off x="4248000" y="2329916"/>
            <a:ext cx="3704400" cy="3978809"/>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lvl="0">
              <a:lnSpc>
                <a:spcPct val="120000"/>
              </a:lnSpc>
            </a:pPr>
            <a:endParaRPr lang="en-US" sz="1400" dirty="0">
              <a:solidFill>
                <a:schemeClr val="tx2">
                  <a:lumMod val="60000"/>
                  <a:lumOff val="40000"/>
                </a:schemeClr>
              </a:solidFill>
            </a:endParaRPr>
          </a:p>
        </p:txBody>
      </p:sp>
      <p:sp>
        <p:nvSpPr>
          <p:cNvPr id="18" name="Rectangle 17">
            <a:extLst>
              <a:ext uri="{FF2B5EF4-FFF2-40B4-BE49-F238E27FC236}">
                <a16:creationId xmlns:a16="http://schemas.microsoft.com/office/drawing/2014/main" id="{C1820B62-5694-EF46-9BF8-0D16EC29D68F}"/>
              </a:ext>
            </a:extLst>
          </p:cNvPr>
          <p:cNvSpPr/>
          <p:nvPr userDrawn="1"/>
        </p:nvSpPr>
        <p:spPr>
          <a:xfrm>
            <a:off x="8128311" y="2329916"/>
            <a:ext cx="3704400" cy="3978809"/>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lvl="0">
              <a:lnSpc>
                <a:spcPct val="120000"/>
              </a:lnSpc>
            </a:pPr>
            <a:endParaRPr lang="en-US" sz="1400" dirty="0">
              <a:solidFill>
                <a:schemeClr val="tx2">
                  <a:lumMod val="60000"/>
                  <a:lumOff val="40000"/>
                </a:schemeClr>
              </a:solidFill>
            </a:endParaRPr>
          </a:p>
        </p:txBody>
      </p:sp>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50F8DB22-AF0C-F945-B27F-11D07218AF1C}"/>
              </a:ext>
            </a:extLst>
          </p:cNvPr>
          <p:cNvSpPr>
            <a:spLocks noGrp="1"/>
          </p:cNvSpPr>
          <p:nvPr>
            <p:ph type="body" sz="quarter" idx="11" hasCustomPrompt="1"/>
          </p:nvPr>
        </p:nvSpPr>
        <p:spPr>
          <a:xfrm>
            <a:off x="352425" y="1073150"/>
            <a:ext cx="11476038" cy="859210"/>
          </a:xfrm>
        </p:spPr>
        <p:txBody>
          <a:bodyPr>
            <a:spAutoFit/>
          </a:bodyPr>
          <a:lstStyle>
            <a:lvl1pPr marL="0" indent="0">
              <a:lnSpc>
                <a:spcPct val="120000"/>
              </a:lnSpc>
              <a:spcBef>
                <a:spcPts val="0"/>
              </a:spcBef>
              <a:buNone/>
              <a:defRPr/>
            </a:lvl1pPr>
          </a:lstStyle>
          <a:p>
            <a:pPr>
              <a:lnSpc>
                <a:spcPct val="120000"/>
              </a:lnSpc>
            </a:pPr>
            <a:r>
              <a:rPr lang="en-IN" sz="1600" dirty="0">
                <a:solidFill>
                  <a:schemeClr val="bg2"/>
                </a:solidFill>
                <a:effectLst/>
                <a:ea typeface="Calibri" panose="020F0502020204030204" pitchFamily="34" charset="0"/>
              </a:rPr>
              <a:t>Here’s a paragraph of introductory text, which provides a narrative and description of what’s </a:t>
            </a:r>
            <a:r>
              <a:rPr lang="en-IN" sz="1600" dirty="0">
                <a:solidFill>
                  <a:schemeClr val="bg2"/>
                </a:solidFill>
                <a:ea typeface="Calibri" panose="020F0502020204030204" pitchFamily="34" charset="0"/>
              </a:rPr>
              <a:t>below. Here’s a paragraph of introductory text, which provides a narrative and description of what’s below. Here’s a paragraph of introductory text, which provides a narrative and description of what’s below.</a:t>
            </a:r>
          </a:p>
        </p:txBody>
      </p:sp>
      <p:sp>
        <p:nvSpPr>
          <p:cNvPr id="10" name="Picture Placeholder 9">
            <a:extLst>
              <a:ext uri="{FF2B5EF4-FFF2-40B4-BE49-F238E27FC236}">
                <a16:creationId xmlns:a16="http://schemas.microsoft.com/office/drawing/2014/main" id="{EF972805-4680-4540-926A-1461D92B3AF6}"/>
              </a:ext>
            </a:extLst>
          </p:cNvPr>
          <p:cNvSpPr>
            <a:spLocks noGrp="1"/>
          </p:cNvSpPr>
          <p:nvPr>
            <p:ph type="pic" sz="quarter" idx="12" hasCustomPrompt="1"/>
          </p:nvPr>
        </p:nvSpPr>
        <p:spPr>
          <a:xfrm>
            <a:off x="550800"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23" name="Text Placeholder 19">
            <a:extLst>
              <a:ext uri="{FF2B5EF4-FFF2-40B4-BE49-F238E27FC236}">
                <a16:creationId xmlns:a16="http://schemas.microsoft.com/office/drawing/2014/main" id="{2FFB5BCA-547D-CD40-AF21-5B53FB9A0841}"/>
              </a:ext>
            </a:extLst>
          </p:cNvPr>
          <p:cNvSpPr>
            <a:spLocks noGrp="1"/>
          </p:cNvSpPr>
          <p:nvPr>
            <p:ph type="body" sz="quarter" idx="17" hasCustomPrompt="1"/>
          </p:nvPr>
        </p:nvSpPr>
        <p:spPr>
          <a:xfrm>
            <a:off x="4248000" y="2329915"/>
            <a:ext cx="3704400" cy="1503993"/>
          </a:xfrm>
        </p:spPr>
        <p:txBody>
          <a:bodyPr wrap="square" lIns="180000" tIns="1080000" rIns="180000">
            <a:spAutoFit/>
          </a:bodyPr>
          <a:lstStyle>
            <a:lvl1pPr marL="0" indent="0">
              <a:buNone/>
              <a:defRPr lang="ar-SA" sz="2400" b="1" i="0" kern="1200" spc="-100" baseline="0" dirty="0" smtClean="0">
                <a:solidFill>
                  <a:schemeClr val="tx1"/>
                </a:solidFill>
                <a:latin typeface="Arial Black" panose="020B0604020202020204" pitchFamily="34" charset="0"/>
                <a:ea typeface="+mn-ea"/>
                <a:cs typeface="Arial Black" panose="020B0604020202020204" pitchFamily="34" charset="0"/>
              </a:defRPr>
            </a:lvl1pPr>
          </a:lstStyle>
          <a:p>
            <a:pPr marL="0" lvl="0" indent="0" algn="l" defTabSz="914400" rtl="0" eaLnBrk="1" latinLnBrk="0" hangingPunct="1">
              <a:lnSpc>
                <a:spcPct val="120000"/>
              </a:lnSpc>
              <a:spcBef>
                <a:spcPts val="1200"/>
              </a:spcBef>
              <a:buClr>
                <a:schemeClr val="accent1"/>
              </a:buClr>
              <a:buFont typeface="Arial" panose="020B0604020202020204" pitchFamily="34" charset="0"/>
              <a:buNone/>
            </a:pPr>
            <a:r>
              <a:rPr lang="en-GB" dirty="0"/>
              <a:t>Column title</a:t>
            </a:r>
            <a:endParaRPr lang="ar-SA" dirty="0"/>
          </a:p>
        </p:txBody>
      </p:sp>
      <p:sp>
        <p:nvSpPr>
          <p:cNvPr id="24" name="Text Placeholder 19">
            <a:extLst>
              <a:ext uri="{FF2B5EF4-FFF2-40B4-BE49-F238E27FC236}">
                <a16:creationId xmlns:a16="http://schemas.microsoft.com/office/drawing/2014/main" id="{AC322965-8CA2-1746-8C72-94DDB46FDF28}"/>
              </a:ext>
            </a:extLst>
          </p:cNvPr>
          <p:cNvSpPr>
            <a:spLocks noGrp="1"/>
          </p:cNvSpPr>
          <p:nvPr>
            <p:ph type="body" sz="quarter" idx="18" hasCustomPrompt="1"/>
          </p:nvPr>
        </p:nvSpPr>
        <p:spPr>
          <a:xfrm>
            <a:off x="4248000" y="3833908"/>
            <a:ext cx="3704400"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marL="172800" lvl="0" indent="-172800" algn="l" defTabSz="914400" rtl="0" eaLnBrk="1" latinLnBrk="0" hangingPunct="1">
              <a:lnSpc>
                <a:spcPct val="120000"/>
              </a:lnSpc>
              <a:spcBef>
                <a:spcPts val="1200"/>
              </a:spcBef>
              <a:buClr>
                <a:schemeClr val="accent1"/>
              </a:buClr>
              <a:buFont typeface="System Font Regular"/>
              <a:buChar char="\"/>
            </a:pPr>
            <a:r>
              <a:rPr lang="en-US" dirty="0"/>
              <a:t>List of a few</a:t>
            </a:r>
            <a:endParaRPr lang="ar-SA" dirty="0"/>
          </a:p>
        </p:txBody>
      </p:sp>
      <p:sp>
        <p:nvSpPr>
          <p:cNvPr id="26" name="Text Placeholder 19">
            <a:extLst>
              <a:ext uri="{FF2B5EF4-FFF2-40B4-BE49-F238E27FC236}">
                <a16:creationId xmlns:a16="http://schemas.microsoft.com/office/drawing/2014/main" id="{EFEE8549-D1AA-F34F-953A-BE99FC5BEB55}"/>
              </a:ext>
            </a:extLst>
          </p:cNvPr>
          <p:cNvSpPr>
            <a:spLocks noGrp="1"/>
          </p:cNvSpPr>
          <p:nvPr>
            <p:ph type="body" sz="quarter" idx="19" hasCustomPrompt="1"/>
          </p:nvPr>
        </p:nvSpPr>
        <p:spPr>
          <a:xfrm>
            <a:off x="8128311" y="2329915"/>
            <a:ext cx="3704400" cy="1503993"/>
          </a:xfrm>
        </p:spPr>
        <p:txBody>
          <a:bodyPr wrap="square" lIns="180000" tIns="1080000" rIns="180000">
            <a:spAutoFit/>
          </a:bodyPr>
          <a:lstStyle>
            <a:lvl1pPr marL="0" indent="0">
              <a:buNone/>
              <a:defRPr lang="ar-SA" sz="2400" b="1" i="0" kern="1200" spc="-100" baseline="0" dirty="0" smtClean="0">
                <a:solidFill>
                  <a:schemeClr val="tx1"/>
                </a:solidFill>
                <a:latin typeface="Arial Black" panose="020B0604020202020204" pitchFamily="34" charset="0"/>
                <a:ea typeface="+mn-ea"/>
                <a:cs typeface="Arial Black" panose="020B0604020202020204" pitchFamily="34" charset="0"/>
              </a:defRPr>
            </a:lvl1pPr>
          </a:lstStyle>
          <a:p>
            <a:pPr marL="0" lvl="0" indent="0" algn="l" defTabSz="914400" rtl="0" eaLnBrk="1" latinLnBrk="0" hangingPunct="1">
              <a:lnSpc>
                <a:spcPct val="120000"/>
              </a:lnSpc>
              <a:spcBef>
                <a:spcPts val="1200"/>
              </a:spcBef>
              <a:buClr>
                <a:schemeClr val="accent1"/>
              </a:buClr>
              <a:buFont typeface="Arial" panose="020B0604020202020204" pitchFamily="34" charset="0"/>
              <a:buNone/>
            </a:pPr>
            <a:r>
              <a:rPr lang="en-GB" dirty="0"/>
              <a:t>Column title</a:t>
            </a:r>
            <a:endParaRPr lang="ar-SA" dirty="0"/>
          </a:p>
        </p:txBody>
      </p:sp>
      <p:sp>
        <p:nvSpPr>
          <p:cNvPr id="27" name="Text Placeholder 19">
            <a:extLst>
              <a:ext uri="{FF2B5EF4-FFF2-40B4-BE49-F238E27FC236}">
                <a16:creationId xmlns:a16="http://schemas.microsoft.com/office/drawing/2014/main" id="{74FF8C75-938B-614C-91BC-F3ABB44F3D58}"/>
              </a:ext>
            </a:extLst>
          </p:cNvPr>
          <p:cNvSpPr>
            <a:spLocks noGrp="1"/>
          </p:cNvSpPr>
          <p:nvPr>
            <p:ph type="body" sz="quarter" idx="20" hasCustomPrompt="1"/>
          </p:nvPr>
        </p:nvSpPr>
        <p:spPr>
          <a:xfrm>
            <a:off x="8128311" y="3833908"/>
            <a:ext cx="3704400"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marL="172800" lvl="0" indent="-172800" algn="l" defTabSz="914400" rtl="0" eaLnBrk="1" latinLnBrk="0" hangingPunct="1">
              <a:lnSpc>
                <a:spcPct val="120000"/>
              </a:lnSpc>
              <a:spcBef>
                <a:spcPts val="1200"/>
              </a:spcBef>
              <a:buClr>
                <a:schemeClr val="accent1"/>
              </a:buClr>
              <a:buFont typeface="System Font Regular"/>
              <a:buChar char="\"/>
            </a:pPr>
            <a:r>
              <a:rPr lang="en-US" dirty="0"/>
              <a:t>List of a few</a:t>
            </a:r>
            <a:endParaRPr lang="ar-SA" dirty="0"/>
          </a:p>
        </p:txBody>
      </p:sp>
      <p:sp>
        <p:nvSpPr>
          <p:cNvPr id="12" name="Picture Placeholder 9">
            <a:extLst>
              <a:ext uri="{FF2B5EF4-FFF2-40B4-BE49-F238E27FC236}">
                <a16:creationId xmlns:a16="http://schemas.microsoft.com/office/drawing/2014/main" id="{403BCBD3-9B89-3846-A427-DD9987A873F1}"/>
              </a:ext>
            </a:extLst>
          </p:cNvPr>
          <p:cNvSpPr>
            <a:spLocks noGrp="1"/>
          </p:cNvSpPr>
          <p:nvPr>
            <p:ph type="pic" sz="quarter" idx="13" hasCustomPrompt="1"/>
          </p:nvPr>
        </p:nvSpPr>
        <p:spPr>
          <a:xfrm>
            <a:off x="4431600"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13" name="Picture Placeholder 9">
            <a:extLst>
              <a:ext uri="{FF2B5EF4-FFF2-40B4-BE49-F238E27FC236}">
                <a16:creationId xmlns:a16="http://schemas.microsoft.com/office/drawing/2014/main" id="{3BBB1B4B-73FC-A24F-86C0-E235BA430CAB}"/>
              </a:ext>
            </a:extLst>
          </p:cNvPr>
          <p:cNvSpPr>
            <a:spLocks noGrp="1"/>
          </p:cNvSpPr>
          <p:nvPr>
            <p:ph type="pic" sz="quarter" idx="14" hasCustomPrompt="1"/>
          </p:nvPr>
        </p:nvSpPr>
        <p:spPr>
          <a:xfrm>
            <a:off x="8308311"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4" name="Title 3">
            <a:extLst>
              <a:ext uri="{FF2B5EF4-FFF2-40B4-BE49-F238E27FC236}">
                <a16:creationId xmlns:a16="http://schemas.microsoft.com/office/drawing/2014/main" id="{D74B8E5D-DECE-A74B-862F-5022D26A10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208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DFE06605-5E0C-204D-A2C3-37C127C725C5}"/>
              </a:ext>
            </a:extLst>
          </p:cNvPr>
          <p:cNvSpPr>
            <a:spLocks noGrp="1"/>
          </p:cNvSpPr>
          <p:nvPr>
            <p:ph type="body" sz="quarter" idx="11" hasCustomPrompt="1"/>
          </p:nvPr>
        </p:nvSpPr>
        <p:spPr>
          <a:xfrm>
            <a:off x="360363" y="1072800"/>
            <a:ext cx="2736000" cy="1800000"/>
          </a:xfrm>
          <a:solidFill>
            <a:schemeClr val="accent4"/>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19" name="Text Placeholder 5">
            <a:extLst>
              <a:ext uri="{FF2B5EF4-FFF2-40B4-BE49-F238E27FC236}">
                <a16:creationId xmlns:a16="http://schemas.microsoft.com/office/drawing/2014/main" id="{ED75E8F7-D351-CA42-A16F-9415D1353E9B}"/>
              </a:ext>
            </a:extLst>
          </p:cNvPr>
          <p:cNvSpPr>
            <a:spLocks noGrp="1"/>
          </p:cNvSpPr>
          <p:nvPr>
            <p:ph type="body" sz="quarter" idx="12" hasCustomPrompt="1"/>
          </p:nvPr>
        </p:nvSpPr>
        <p:spPr>
          <a:xfrm>
            <a:off x="360363" y="2872800"/>
            <a:ext cx="2736000" cy="3445200"/>
          </a:xfrm>
          <a:solidFill>
            <a:schemeClr val="bg2"/>
          </a:solidFill>
          <a:effectLst>
            <a:innerShdw dist="25400" dir="5400000">
              <a:schemeClr val="accent4"/>
            </a:innerShdw>
          </a:effectLst>
        </p:spPr>
        <p:txBody>
          <a:bodyPr lIns="180000" tIns="180000" rIns="180000" bIns="180000">
            <a:normAutofit/>
          </a:bodyPr>
          <a:lstStyle>
            <a:lvl1pPr marL="180000" marR="0" indent="-180000" algn="l" defTabSz="914400" rtl="0" eaLnBrk="1" fontAlgn="auto" latinLnBrk="0" hangingPunct="1">
              <a:lnSpc>
                <a:spcPct val="120000"/>
              </a:lnSpc>
              <a:spcBef>
                <a:spcPts val="1200"/>
              </a:spcBef>
              <a:spcAft>
                <a:spcPts val="1200"/>
              </a:spcAft>
              <a:buClr>
                <a:schemeClr val="accent1"/>
              </a:buClr>
              <a:buSzTx/>
              <a:buFont typeface="Arial" panose="020B0604020202020204" pitchFamily="34" charset="0"/>
              <a:buChar char="\"/>
              <a:tabLst/>
              <a:defRPr lang="ar-SA" sz="1400" kern="1200" baseline="0" dirty="0" smtClean="0">
                <a:solidFill>
                  <a:schemeClr val="tx1"/>
                </a:solidFill>
                <a:latin typeface="+mn-lt"/>
                <a:ea typeface="+mn-ea"/>
                <a:cs typeface="+mn-cs"/>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180000" lvl="0" indent="-180000" algn="l" defTabSz="914400" rtl="0" eaLnBrk="1" latinLnBrk="0" hangingPunct="1">
              <a:lnSpc>
                <a:spcPct val="120000"/>
              </a:lnSpc>
              <a:spcBef>
                <a:spcPts val="1200"/>
              </a:spcBef>
              <a:buClr>
                <a:schemeClr val="accent1"/>
              </a:buClr>
              <a:buFont typeface="Arial" panose="020B0604020202020204" pitchFamily="34" charset="0"/>
              <a:buChar char="\"/>
            </a:pPr>
            <a:r>
              <a:rPr lang="en-US" dirty="0"/>
              <a:t>Lorem Ipsum is simply dummy text of the printing and typesetting industry. </a:t>
            </a:r>
          </a:p>
        </p:txBody>
      </p:sp>
      <p:sp>
        <p:nvSpPr>
          <p:cNvPr id="25" name="Text Placeholder 5">
            <a:extLst>
              <a:ext uri="{FF2B5EF4-FFF2-40B4-BE49-F238E27FC236}">
                <a16:creationId xmlns:a16="http://schemas.microsoft.com/office/drawing/2014/main" id="{D325416A-BA93-A348-B379-AF1FF7C4A934}"/>
              </a:ext>
            </a:extLst>
          </p:cNvPr>
          <p:cNvSpPr>
            <a:spLocks noGrp="1"/>
          </p:cNvSpPr>
          <p:nvPr>
            <p:ph type="body" sz="quarter" idx="13" hasCustomPrompt="1"/>
          </p:nvPr>
        </p:nvSpPr>
        <p:spPr>
          <a:xfrm>
            <a:off x="3272400" y="1072800"/>
            <a:ext cx="2736000" cy="1800000"/>
          </a:xfrm>
          <a:solidFill>
            <a:schemeClr val="accent3"/>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28" name="Text Placeholder 5">
            <a:extLst>
              <a:ext uri="{FF2B5EF4-FFF2-40B4-BE49-F238E27FC236}">
                <a16:creationId xmlns:a16="http://schemas.microsoft.com/office/drawing/2014/main" id="{CF7D4528-F118-8C44-97B8-B86126A1CAF8}"/>
              </a:ext>
            </a:extLst>
          </p:cNvPr>
          <p:cNvSpPr>
            <a:spLocks noGrp="1"/>
          </p:cNvSpPr>
          <p:nvPr>
            <p:ph type="body" sz="quarter" idx="14" hasCustomPrompt="1"/>
          </p:nvPr>
        </p:nvSpPr>
        <p:spPr>
          <a:xfrm>
            <a:off x="3272400" y="2872800"/>
            <a:ext cx="2736000" cy="3445200"/>
          </a:xfrm>
          <a:solidFill>
            <a:schemeClr val="bg2"/>
          </a:solidFill>
          <a:effectLst>
            <a:innerShdw dist="25400" dir="5400000">
              <a:schemeClr val="accent3"/>
            </a:innerShdw>
          </a:effectLst>
        </p:spPr>
        <p:txBody>
          <a:bodyPr vert="horz" lIns="180000" tIns="180000" rIns="180000" bIns="180000" rtlCol="0">
            <a:normAutofit/>
          </a:bodyPr>
          <a:lstStyle>
            <a:lvl1pPr>
              <a:defRPr lang="en-US" sz="1400" dirty="0" smtClean="0">
                <a:solidFill>
                  <a:schemeClr val="tx1"/>
                </a:solidFill>
              </a:defRPr>
            </a:lvl1pPr>
          </a:lstStyle>
          <a:p>
            <a:pPr lvl="0">
              <a:spcAft>
                <a:spcPts val="1200"/>
              </a:spcAft>
            </a:pPr>
            <a:r>
              <a:rPr lang="en-US" dirty="0"/>
              <a:t>Lorem Ipsum is simply dummy text of the printing and typesetting industry. </a:t>
            </a:r>
          </a:p>
        </p:txBody>
      </p:sp>
      <p:sp>
        <p:nvSpPr>
          <p:cNvPr id="29" name="Text Placeholder 5">
            <a:extLst>
              <a:ext uri="{FF2B5EF4-FFF2-40B4-BE49-F238E27FC236}">
                <a16:creationId xmlns:a16="http://schemas.microsoft.com/office/drawing/2014/main" id="{68203013-BBE1-E74E-8650-E659F75A21BC}"/>
              </a:ext>
            </a:extLst>
          </p:cNvPr>
          <p:cNvSpPr>
            <a:spLocks noGrp="1"/>
          </p:cNvSpPr>
          <p:nvPr>
            <p:ph type="body" sz="quarter" idx="15" hasCustomPrompt="1"/>
          </p:nvPr>
        </p:nvSpPr>
        <p:spPr>
          <a:xfrm>
            <a:off x="6181200" y="1072800"/>
            <a:ext cx="2736000" cy="1800000"/>
          </a:xfrm>
          <a:solidFill>
            <a:schemeClr val="accent2"/>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30" name="Text Placeholder 5">
            <a:extLst>
              <a:ext uri="{FF2B5EF4-FFF2-40B4-BE49-F238E27FC236}">
                <a16:creationId xmlns:a16="http://schemas.microsoft.com/office/drawing/2014/main" id="{35FA45FB-4952-8641-8688-13D34520C724}"/>
              </a:ext>
            </a:extLst>
          </p:cNvPr>
          <p:cNvSpPr>
            <a:spLocks noGrp="1"/>
          </p:cNvSpPr>
          <p:nvPr>
            <p:ph type="body" sz="quarter" idx="16" hasCustomPrompt="1"/>
          </p:nvPr>
        </p:nvSpPr>
        <p:spPr>
          <a:xfrm>
            <a:off x="6181200" y="2872800"/>
            <a:ext cx="2736000" cy="3445200"/>
          </a:xfrm>
          <a:solidFill>
            <a:schemeClr val="bg2"/>
          </a:solidFill>
          <a:effectLst>
            <a:innerShdw dist="25400" dir="5400000">
              <a:schemeClr val="accent2"/>
            </a:innerShdw>
          </a:effectLst>
        </p:spPr>
        <p:txBody>
          <a:bodyPr vert="horz" lIns="180000" tIns="180000" rIns="180000" bIns="180000" rtlCol="0">
            <a:normAutofit/>
          </a:bodyPr>
          <a:lstStyle>
            <a:lvl1pPr>
              <a:defRPr lang="en-US" sz="1400" dirty="0" smtClean="0">
                <a:solidFill>
                  <a:schemeClr val="tx1"/>
                </a:solidFill>
              </a:defRPr>
            </a:lvl1pPr>
          </a:lstStyle>
          <a:p>
            <a:pPr lvl="0">
              <a:spcAft>
                <a:spcPts val="1200"/>
              </a:spcAft>
            </a:pPr>
            <a:r>
              <a:rPr lang="en-US" dirty="0"/>
              <a:t>Lorem Ipsum is simply dummy text of the printing and typesetting industry. </a:t>
            </a:r>
          </a:p>
        </p:txBody>
      </p:sp>
      <p:sp>
        <p:nvSpPr>
          <p:cNvPr id="31" name="Text Placeholder 5">
            <a:extLst>
              <a:ext uri="{FF2B5EF4-FFF2-40B4-BE49-F238E27FC236}">
                <a16:creationId xmlns:a16="http://schemas.microsoft.com/office/drawing/2014/main" id="{8A252BC7-EA1D-7E48-A2CC-66D02DF7103C}"/>
              </a:ext>
            </a:extLst>
          </p:cNvPr>
          <p:cNvSpPr>
            <a:spLocks noGrp="1"/>
          </p:cNvSpPr>
          <p:nvPr>
            <p:ph type="body" sz="quarter" idx="17" hasCustomPrompt="1"/>
          </p:nvPr>
        </p:nvSpPr>
        <p:spPr>
          <a:xfrm>
            <a:off x="9093600" y="1072800"/>
            <a:ext cx="2736000" cy="1800000"/>
          </a:xfrm>
          <a:solidFill>
            <a:schemeClr val="accent5"/>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32" name="Text Placeholder 5">
            <a:extLst>
              <a:ext uri="{FF2B5EF4-FFF2-40B4-BE49-F238E27FC236}">
                <a16:creationId xmlns:a16="http://schemas.microsoft.com/office/drawing/2014/main" id="{8AC7132A-A253-0C4D-A403-FDD7006D433E}"/>
              </a:ext>
            </a:extLst>
          </p:cNvPr>
          <p:cNvSpPr>
            <a:spLocks noGrp="1"/>
          </p:cNvSpPr>
          <p:nvPr>
            <p:ph type="body" sz="quarter" idx="18" hasCustomPrompt="1"/>
          </p:nvPr>
        </p:nvSpPr>
        <p:spPr>
          <a:xfrm>
            <a:off x="9093600" y="2872800"/>
            <a:ext cx="2736000" cy="3445200"/>
          </a:xfrm>
          <a:solidFill>
            <a:schemeClr val="bg2"/>
          </a:solidFill>
          <a:effectLst>
            <a:innerShdw dist="25400" dir="5400000">
              <a:schemeClr val="accent5"/>
            </a:innerShdw>
          </a:effectLst>
        </p:spPr>
        <p:txBody>
          <a:bodyPr vert="horz" lIns="180000" tIns="180000" rIns="180000" bIns="180000" rtlCol="0">
            <a:normAutofit/>
          </a:bodyPr>
          <a:lstStyle>
            <a:lvl1pPr>
              <a:defRPr lang="en-US" sz="1400" dirty="0" smtClean="0">
                <a:solidFill>
                  <a:schemeClr val="tx1"/>
                </a:solidFill>
              </a:defRPr>
            </a:lvl1pPr>
          </a:lstStyle>
          <a:p>
            <a:pPr lvl="0">
              <a:spcAft>
                <a:spcPts val="1200"/>
              </a:spcAft>
            </a:pPr>
            <a:r>
              <a:rPr lang="en-US" dirty="0"/>
              <a:t>Lorem Ipsum is simply dummy text of the printing and typesetting industry. </a:t>
            </a:r>
          </a:p>
        </p:txBody>
      </p:sp>
      <p:sp>
        <p:nvSpPr>
          <p:cNvPr id="4" name="Title 3">
            <a:extLst>
              <a:ext uri="{FF2B5EF4-FFF2-40B4-BE49-F238E27FC236}">
                <a16:creationId xmlns:a16="http://schemas.microsoft.com/office/drawing/2014/main" id="{4ECED374-A423-7241-A242-AE9EEBDACD9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021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 Column with Icons and Datapoi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2FB7953-F8F0-D248-94E4-81B498A6D21A}"/>
              </a:ext>
            </a:extLst>
          </p:cNvPr>
          <p:cNvSpPr>
            <a:spLocks noGrp="1"/>
          </p:cNvSpPr>
          <p:nvPr>
            <p:ph type="body" sz="quarter" idx="23" hasCustomPrompt="1"/>
          </p:nvPr>
        </p:nvSpPr>
        <p:spPr>
          <a:xfrm>
            <a:off x="360362"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3" name="Text Placeholder 7">
            <a:extLst>
              <a:ext uri="{FF2B5EF4-FFF2-40B4-BE49-F238E27FC236}">
                <a16:creationId xmlns:a16="http://schemas.microsoft.com/office/drawing/2014/main" id="{3BDC1D60-8CA6-CE4F-8AF2-28E1A5183A38}"/>
              </a:ext>
            </a:extLst>
          </p:cNvPr>
          <p:cNvSpPr>
            <a:spLocks noGrp="1"/>
          </p:cNvSpPr>
          <p:nvPr>
            <p:ph type="body" sz="quarter" idx="25" hasCustomPrompt="1"/>
          </p:nvPr>
        </p:nvSpPr>
        <p:spPr>
          <a:xfrm>
            <a:off x="3272400"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6" name="Text Placeholder 7">
            <a:extLst>
              <a:ext uri="{FF2B5EF4-FFF2-40B4-BE49-F238E27FC236}">
                <a16:creationId xmlns:a16="http://schemas.microsoft.com/office/drawing/2014/main" id="{71A6A59A-0FE4-0749-BC9D-E7D8C6477E5E}"/>
              </a:ext>
            </a:extLst>
          </p:cNvPr>
          <p:cNvSpPr>
            <a:spLocks noGrp="1"/>
          </p:cNvSpPr>
          <p:nvPr>
            <p:ph type="body" sz="quarter" idx="27" hasCustomPrompt="1"/>
          </p:nvPr>
        </p:nvSpPr>
        <p:spPr>
          <a:xfrm>
            <a:off x="6181200"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3" name="Text Placeholder 7">
            <a:extLst>
              <a:ext uri="{FF2B5EF4-FFF2-40B4-BE49-F238E27FC236}">
                <a16:creationId xmlns:a16="http://schemas.microsoft.com/office/drawing/2014/main" id="{BD083C88-D630-B24C-9BB9-1D31069D5C1D}"/>
              </a:ext>
            </a:extLst>
          </p:cNvPr>
          <p:cNvSpPr>
            <a:spLocks noGrp="1"/>
          </p:cNvSpPr>
          <p:nvPr>
            <p:ph type="body" sz="quarter" idx="29" hasCustomPrompt="1"/>
          </p:nvPr>
        </p:nvSpPr>
        <p:spPr>
          <a:xfrm>
            <a:off x="9093600"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DFE06605-5E0C-204D-A2C3-37C127C725C5}"/>
              </a:ext>
            </a:extLst>
          </p:cNvPr>
          <p:cNvSpPr>
            <a:spLocks noGrp="1"/>
          </p:cNvSpPr>
          <p:nvPr>
            <p:ph type="body" sz="quarter" idx="11" hasCustomPrompt="1"/>
          </p:nvPr>
        </p:nvSpPr>
        <p:spPr>
          <a:xfrm>
            <a:off x="360363" y="1072800"/>
            <a:ext cx="2736000" cy="4071600"/>
          </a:xfrm>
          <a:solidFill>
            <a:schemeClr val="bg2"/>
          </a:solidFill>
        </p:spPr>
        <p:txBody>
          <a:bodyPr lIns="180000" tIns="2160000" rIns="180000" bIns="180000">
            <a:normAutofit/>
          </a:bodyPr>
          <a:lstStyle>
            <a:lvl1pPr marL="0" indent="0">
              <a:lnSpc>
                <a:spcPct val="100000"/>
              </a:lnSpc>
              <a:spcBef>
                <a:spcPts val="500"/>
              </a:spcBef>
              <a:spcAft>
                <a:spcPts val="1200"/>
              </a:spcAft>
              <a:buNone/>
              <a:defRPr sz="2000" b="1" i="0" spc="-100" baseline="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25" name="Text Placeholder 5">
            <a:extLst>
              <a:ext uri="{FF2B5EF4-FFF2-40B4-BE49-F238E27FC236}">
                <a16:creationId xmlns:a16="http://schemas.microsoft.com/office/drawing/2014/main" id="{D325416A-BA93-A348-B379-AF1FF7C4A934}"/>
              </a:ext>
            </a:extLst>
          </p:cNvPr>
          <p:cNvSpPr>
            <a:spLocks noGrp="1"/>
          </p:cNvSpPr>
          <p:nvPr>
            <p:ph type="body" sz="quarter" idx="13" hasCustomPrompt="1"/>
          </p:nvPr>
        </p:nvSpPr>
        <p:spPr>
          <a:xfrm>
            <a:off x="3272400" y="1072800"/>
            <a:ext cx="2736000" cy="4071600"/>
          </a:xfrm>
          <a:solidFill>
            <a:schemeClr val="bg2"/>
          </a:solid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29" name="Text Placeholder 5">
            <a:extLst>
              <a:ext uri="{FF2B5EF4-FFF2-40B4-BE49-F238E27FC236}">
                <a16:creationId xmlns:a16="http://schemas.microsoft.com/office/drawing/2014/main" id="{68203013-BBE1-E74E-8650-E659F75A21BC}"/>
              </a:ext>
            </a:extLst>
          </p:cNvPr>
          <p:cNvSpPr>
            <a:spLocks noGrp="1"/>
          </p:cNvSpPr>
          <p:nvPr>
            <p:ph type="body" sz="quarter" idx="15" hasCustomPrompt="1"/>
          </p:nvPr>
        </p:nvSpPr>
        <p:spPr>
          <a:xfrm>
            <a:off x="6181200" y="1072800"/>
            <a:ext cx="2736000" cy="4071600"/>
          </a:xfrm>
          <a:solidFill>
            <a:schemeClr val="bg2"/>
          </a:solid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31" name="Text Placeholder 5">
            <a:extLst>
              <a:ext uri="{FF2B5EF4-FFF2-40B4-BE49-F238E27FC236}">
                <a16:creationId xmlns:a16="http://schemas.microsoft.com/office/drawing/2014/main" id="{8A252BC7-EA1D-7E48-A2CC-66D02DF7103C}"/>
              </a:ext>
            </a:extLst>
          </p:cNvPr>
          <p:cNvSpPr>
            <a:spLocks noGrp="1"/>
          </p:cNvSpPr>
          <p:nvPr>
            <p:ph type="body" sz="quarter" idx="17" hasCustomPrompt="1"/>
          </p:nvPr>
        </p:nvSpPr>
        <p:spPr>
          <a:xfrm>
            <a:off x="9093600" y="1072800"/>
            <a:ext cx="2736000" cy="4071600"/>
          </a:xfrm>
          <a:solidFill>
            <a:schemeClr val="bg2"/>
          </a:solid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5" name="Picture Placeholder 4">
            <a:extLst>
              <a:ext uri="{FF2B5EF4-FFF2-40B4-BE49-F238E27FC236}">
                <a16:creationId xmlns:a16="http://schemas.microsoft.com/office/drawing/2014/main" id="{8EB9EF6E-7115-E74F-AD15-F019AD3045AC}"/>
              </a:ext>
            </a:extLst>
          </p:cNvPr>
          <p:cNvSpPr>
            <a:spLocks noGrp="1"/>
          </p:cNvSpPr>
          <p:nvPr>
            <p:ph type="pic" sz="quarter" idx="19" hasCustomPrompt="1"/>
          </p:nvPr>
        </p:nvSpPr>
        <p:spPr>
          <a:xfrm>
            <a:off x="4536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4" name="Picture Placeholder 4">
            <a:extLst>
              <a:ext uri="{FF2B5EF4-FFF2-40B4-BE49-F238E27FC236}">
                <a16:creationId xmlns:a16="http://schemas.microsoft.com/office/drawing/2014/main" id="{504BDB76-BAB9-254C-843A-76E1BCB770D9}"/>
              </a:ext>
            </a:extLst>
          </p:cNvPr>
          <p:cNvSpPr>
            <a:spLocks noGrp="1"/>
          </p:cNvSpPr>
          <p:nvPr>
            <p:ph type="pic" sz="quarter" idx="20" hasCustomPrompt="1"/>
          </p:nvPr>
        </p:nvSpPr>
        <p:spPr>
          <a:xfrm>
            <a:off x="33660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5" name="Picture Placeholder 4">
            <a:extLst>
              <a:ext uri="{FF2B5EF4-FFF2-40B4-BE49-F238E27FC236}">
                <a16:creationId xmlns:a16="http://schemas.microsoft.com/office/drawing/2014/main" id="{8CEA5128-91CE-5C4D-8A44-8EF2F09542D8}"/>
              </a:ext>
            </a:extLst>
          </p:cNvPr>
          <p:cNvSpPr>
            <a:spLocks noGrp="1"/>
          </p:cNvSpPr>
          <p:nvPr>
            <p:ph type="pic" sz="quarter" idx="21" hasCustomPrompt="1"/>
          </p:nvPr>
        </p:nvSpPr>
        <p:spPr>
          <a:xfrm>
            <a:off x="62748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6" name="Picture Placeholder 4">
            <a:extLst>
              <a:ext uri="{FF2B5EF4-FFF2-40B4-BE49-F238E27FC236}">
                <a16:creationId xmlns:a16="http://schemas.microsoft.com/office/drawing/2014/main" id="{DA4D4607-15BD-7344-A060-8964B708B968}"/>
              </a:ext>
            </a:extLst>
          </p:cNvPr>
          <p:cNvSpPr>
            <a:spLocks noGrp="1"/>
          </p:cNvSpPr>
          <p:nvPr>
            <p:ph type="pic" sz="quarter" idx="22" hasCustomPrompt="1"/>
          </p:nvPr>
        </p:nvSpPr>
        <p:spPr>
          <a:xfrm>
            <a:off x="91872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0" name="Text Placeholder 9">
            <a:extLst>
              <a:ext uri="{FF2B5EF4-FFF2-40B4-BE49-F238E27FC236}">
                <a16:creationId xmlns:a16="http://schemas.microsoft.com/office/drawing/2014/main" id="{B41C647F-5247-264A-89FE-65D730B2365F}"/>
              </a:ext>
            </a:extLst>
          </p:cNvPr>
          <p:cNvSpPr>
            <a:spLocks noGrp="1"/>
          </p:cNvSpPr>
          <p:nvPr>
            <p:ph type="body" sz="quarter" idx="24" hasCustomPrompt="1"/>
          </p:nvPr>
        </p:nvSpPr>
        <p:spPr>
          <a:xfrm>
            <a:off x="360362"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24" name="Text Placeholder 9">
            <a:extLst>
              <a:ext uri="{FF2B5EF4-FFF2-40B4-BE49-F238E27FC236}">
                <a16:creationId xmlns:a16="http://schemas.microsoft.com/office/drawing/2014/main" id="{5A5435C9-EFF4-8147-B3B1-55EE187742C3}"/>
              </a:ext>
            </a:extLst>
          </p:cNvPr>
          <p:cNvSpPr>
            <a:spLocks noGrp="1"/>
          </p:cNvSpPr>
          <p:nvPr>
            <p:ph type="body" sz="quarter" idx="26" hasCustomPrompt="1"/>
          </p:nvPr>
        </p:nvSpPr>
        <p:spPr>
          <a:xfrm>
            <a:off x="3272400"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27" name="Text Placeholder 9">
            <a:extLst>
              <a:ext uri="{FF2B5EF4-FFF2-40B4-BE49-F238E27FC236}">
                <a16:creationId xmlns:a16="http://schemas.microsoft.com/office/drawing/2014/main" id="{039C8F8E-6AB7-CF42-8AF2-635BE4E0AD96}"/>
              </a:ext>
            </a:extLst>
          </p:cNvPr>
          <p:cNvSpPr>
            <a:spLocks noGrp="1"/>
          </p:cNvSpPr>
          <p:nvPr>
            <p:ph type="body" sz="quarter" idx="28" hasCustomPrompt="1"/>
          </p:nvPr>
        </p:nvSpPr>
        <p:spPr>
          <a:xfrm>
            <a:off x="6181200"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34" name="Text Placeholder 9">
            <a:extLst>
              <a:ext uri="{FF2B5EF4-FFF2-40B4-BE49-F238E27FC236}">
                <a16:creationId xmlns:a16="http://schemas.microsoft.com/office/drawing/2014/main" id="{3497F8DF-538B-B046-B345-11D65B097334}"/>
              </a:ext>
            </a:extLst>
          </p:cNvPr>
          <p:cNvSpPr>
            <a:spLocks noGrp="1"/>
          </p:cNvSpPr>
          <p:nvPr>
            <p:ph type="body" sz="quarter" idx="30" hasCustomPrompt="1"/>
          </p:nvPr>
        </p:nvSpPr>
        <p:spPr>
          <a:xfrm>
            <a:off x="9093600"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4" name="Title 3">
            <a:extLst>
              <a:ext uri="{FF2B5EF4-FFF2-40B4-BE49-F238E27FC236}">
                <a16:creationId xmlns:a16="http://schemas.microsoft.com/office/drawing/2014/main" id="{32ED3491-8948-2248-B956-0AD19704650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30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 Column with Number and Datapoint">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831E1F3E-6649-4F4A-81C4-A457307C320A}"/>
              </a:ext>
            </a:extLst>
          </p:cNvPr>
          <p:cNvSpPr/>
          <p:nvPr userDrawn="1"/>
        </p:nvSpPr>
        <p:spPr>
          <a:xfrm>
            <a:off x="3272400"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5" name="Rectangle 34">
            <a:extLst>
              <a:ext uri="{FF2B5EF4-FFF2-40B4-BE49-F238E27FC236}">
                <a16:creationId xmlns:a16="http://schemas.microsoft.com/office/drawing/2014/main" id="{2537E308-DE58-C64E-83EC-8AE518964811}"/>
              </a:ext>
            </a:extLst>
          </p:cNvPr>
          <p:cNvSpPr/>
          <p:nvPr userDrawn="1"/>
        </p:nvSpPr>
        <p:spPr>
          <a:xfrm>
            <a:off x="6172200"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6" name="Rectangle 35">
            <a:extLst>
              <a:ext uri="{FF2B5EF4-FFF2-40B4-BE49-F238E27FC236}">
                <a16:creationId xmlns:a16="http://schemas.microsoft.com/office/drawing/2014/main" id="{D54E5279-46A9-4241-A757-CDD2DE172B87}"/>
              </a:ext>
            </a:extLst>
          </p:cNvPr>
          <p:cNvSpPr/>
          <p:nvPr userDrawn="1"/>
        </p:nvSpPr>
        <p:spPr>
          <a:xfrm>
            <a:off x="9093600"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 name="Rectangle 4">
            <a:extLst>
              <a:ext uri="{FF2B5EF4-FFF2-40B4-BE49-F238E27FC236}">
                <a16:creationId xmlns:a16="http://schemas.microsoft.com/office/drawing/2014/main" id="{71F62EC4-783C-D644-9331-2A649BF3A7B1}"/>
              </a:ext>
            </a:extLst>
          </p:cNvPr>
          <p:cNvSpPr/>
          <p:nvPr userDrawn="1"/>
        </p:nvSpPr>
        <p:spPr>
          <a:xfrm>
            <a:off x="360363"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8" name="Text Placeholder 7">
            <a:extLst>
              <a:ext uri="{FF2B5EF4-FFF2-40B4-BE49-F238E27FC236}">
                <a16:creationId xmlns:a16="http://schemas.microsoft.com/office/drawing/2014/main" id="{82FB7953-F8F0-D248-94E4-81B498A6D21A}"/>
              </a:ext>
            </a:extLst>
          </p:cNvPr>
          <p:cNvSpPr>
            <a:spLocks noGrp="1"/>
          </p:cNvSpPr>
          <p:nvPr>
            <p:ph type="body" sz="quarter" idx="23" hasCustomPrompt="1"/>
          </p:nvPr>
        </p:nvSpPr>
        <p:spPr>
          <a:xfrm>
            <a:off x="360362"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3" name="Text Placeholder 7">
            <a:extLst>
              <a:ext uri="{FF2B5EF4-FFF2-40B4-BE49-F238E27FC236}">
                <a16:creationId xmlns:a16="http://schemas.microsoft.com/office/drawing/2014/main" id="{3BDC1D60-8CA6-CE4F-8AF2-28E1A5183A38}"/>
              </a:ext>
            </a:extLst>
          </p:cNvPr>
          <p:cNvSpPr>
            <a:spLocks noGrp="1"/>
          </p:cNvSpPr>
          <p:nvPr>
            <p:ph type="body" sz="quarter" idx="25" hasCustomPrompt="1"/>
          </p:nvPr>
        </p:nvSpPr>
        <p:spPr>
          <a:xfrm>
            <a:off x="3272400"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6" name="Text Placeholder 7">
            <a:extLst>
              <a:ext uri="{FF2B5EF4-FFF2-40B4-BE49-F238E27FC236}">
                <a16:creationId xmlns:a16="http://schemas.microsoft.com/office/drawing/2014/main" id="{71A6A59A-0FE4-0749-BC9D-E7D8C6477E5E}"/>
              </a:ext>
            </a:extLst>
          </p:cNvPr>
          <p:cNvSpPr>
            <a:spLocks noGrp="1"/>
          </p:cNvSpPr>
          <p:nvPr>
            <p:ph type="body" sz="quarter" idx="27" hasCustomPrompt="1"/>
          </p:nvPr>
        </p:nvSpPr>
        <p:spPr>
          <a:xfrm>
            <a:off x="6172200"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3" name="Text Placeholder 7">
            <a:extLst>
              <a:ext uri="{FF2B5EF4-FFF2-40B4-BE49-F238E27FC236}">
                <a16:creationId xmlns:a16="http://schemas.microsoft.com/office/drawing/2014/main" id="{BD083C88-D630-B24C-9BB9-1D31069D5C1D}"/>
              </a:ext>
            </a:extLst>
          </p:cNvPr>
          <p:cNvSpPr>
            <a:spLocks noGrp="1"/>
          </p:cNvSpPr>
          <p:nvPr>
            <p:ph type="body" sz="quarter" idx="29" hasCustomPrompt="1"/>
          </p:nvPr>
        </p:nvSpPr>
        <p:spPr>
          <a:xfrm>
            <a:off x="9093600"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DFE06605-5E0C-204D-A2C3-37C127C725C5}"/>
              </a:ext>
            </a:extLst>
          </p:cNvPr>
          <p:cNvSpPr>
            <a:spLocks noGrp="1"/>
          </p:cNvSpPr>
          <p:nvPr>
            <p:ph type="body" sz="quarter" idx="11" hasCustomPrompt="1"/>
          </p:nvPr>
        </p:nvSpPr>
        <p:spPr>
          <a:xfrm>
            <a:off x="360363" y="1072800"/>
            <a:ext cx="2736000" cy="4071600"/>
          </a:xfrm>
          <a:noFill/>
        </p:spPr>
        <p:txBody>
          <a:bodyPr lIns="180000" tIns="2160000" rIns="180000" bIns="180000">
            <a:normAutofit/>
          </a:bodyPr>
          <a:lstStyle>
            <a:lvl1pPr marL="0" indent="0">
              <a:lnSpc>
                <a:spcPct val="100000"/>
              </a:lnSpc>
              <a:spcBef>
                <a:spcPts val="500"/>
              </a:spcBef>
              <a:spcAft>
                <a:spcPts val="1200"/>
              </a:spcAft>
              <a:buNone/>
              <a:defRPr sz="2000" b="1" i="0" spc="-100" baseline="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25" name="Text Placeholder 5">
            <a:extLst>
              <a:ext uri="{FF2B5EF4-FFF2-40B4-BE49-F238E27FC236}">
                <a16:creationId xmlns:a16="http://schemas.microsoft.com/office/drawing/2014/main" id="{D325416A-BA93-A348-B379-AF1FF7C4A934}"/>
              </a:ext>
            </a:extLst>
          </p:cNvPr>
          <p:cNvSpPr>
            <a:spLocks noGrp="1"/>
          </p:cNvSpPr>
          <p:nvPr>
            <p:ph type="body" sz="quarter" idx="13" hasCustomPrompt="1"/>
          </p:nvPr>
        </p:nvSpPr>
        <p:spPr>
          <a:xfrm>
            <a:off x="3272400" y="1072800"/>
            <a:ext cx="2736000" cy="4071600"/>
          </a:xfrm>
          <a:no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29" name="Text Placeholder 5">
            <a:extLst>
              <a:ext uri="{FF2B5EF4-FFF2-40B4-BE49-F238E27FC236}">
                <a16:creationId xmlns:a16="http://schemas.microsoft.com/office/drawing/2014/main" id="{68203013-BBE1-E74E-8650-E659F75A21BC}"/>
              </a:ext>
            </a:extLst>
          </p:cNvPr>
          <p:cNvSpPr>
            <a:spLocks noGrp="1"/>
          </p:cNvSpPr>
          <p:nvPr>
            <p:ph type="body" sz="quarter" idx="15" hasCustomPrompt="1"/>
          </p:nvPr>
        </p:nvSpPr>
        <p:spPr>
          <a:xfrm>
            <a:off x="6172200" y="1072800"/>
            <a:ext cx="2736000" cy="4071600"/>
          </a:xfrm>
          <a:no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31" name="Text Placeholder 5">
            <a:extLst>
              <a:ext uri="{FF2B5EF4-FFF2-40B4-BE49-F238E27FC236}">
                <a16:creationId xmlns:a16="http://schemas.microsoft.com/office/drawing/2014/main" id="{8A252BC7-EA1D-7E48-A2CC-66D02DF7103C}"/>
              </a:ext>
            </a:extLst>
          </p:cNvPr>
          <p:cNvSpPr>
            <a:spLocks noGrp="1"/>
          </p:cNvSpPr>
          <p:nvPr>
            <p:ph type="body" sz="quarter" idx="17" hasCustomPrompt="1"/>
          </p:nvPr>
        </p:nvSpPr>
        <p:spPr>
          <a:xfrm>
            <a:off x="9093600" y="1072800"/>
            <a:ext cx="2736000" cy="4071600"/>
          </a:xfrm>
          <a:no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10" name="Text Placeholder 9">
            <a:extLst>
              <a:ext uri="{FF2B5EF4-FFF2-40B4-BE49-F238E27FC236}">
                <a16:creationId xmlns:a16="http://schemas.microsoft.com/office/drawing/2014/main" id="{B41C647F-5247-264A-89FE-65D730B2365F}"/>
              </a:ext>
            </a:extLst>
          </p:cNvPr>
          <p:cNvSpPr>
            <a:spLocks noGrp="1"/>
          </p:cNvSpPr>
          <p:nvPr>
            <p:ph type="body" sz="quarter" idx="24" hasCustomPrompt="1"/>
          </p:nvPr>
        </p:nvSpPr>
        <p:spPr>
          <a:xfrm>
            <a:off x="360362"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24" name="Text Placeholder 9">
            <a:extLst>
              <a:ext uri="{FF2B5EF4-FFF2-40B4-BE49-F238E27FC236}">
                <a16:creationId xmlns:a16="http://schemas.microsoft.com/office/drawing/2014/main" id="{5A5435C9-EFF4-8147-B3B1-55EE187742C3}"/>
              </a:ext>
            </a:extLst>
          </p:cNvPr>
          <p:cNvSpPr>
            <a:spLocks noGrp="1"/>
          </p:cNvSpPr>
          <p:nvPr>
            <p:ph type="body" sz="quarter" idx="26" hasCustomPrompt="1"/>
          </p:nvPr>
        </p:nvSpPr>
        <p:spPr>
          <a:xfrm>
            <a:off x="3272400"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27" name="Text Placeholder 9">
            <a:extLst>
              <a:ext uri="{FF2B5EF4-FFF2-40B4-BE49-F238E27FC236}">
                <a16:creationId xmlns:a16="http://schemas.microsoft.com/office/drawing/2014/main" id="{039C8F8E-6AB7-CF42-8AF2-635BE4E0AD96}"/>
              </a:ext>
            </a:extLst>
          </p:cNvPr>
          <p:cNvSpPr>
            <a:spLocks noGrp="1"/>
          </p:cNvSpPr>
          <p:nvPr>
            <p:ph type="body" sz="quarter" idx="28" hasCustomPrompt="1"/>
          </p:nvPr>
        </p:nvSpPr>
        <p:spPr>
          <a:xfrm>
            <a:off x="6172200"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34" name="Text Placeholder 9">
            <a:extLst>
              <a:ext uri="{FF2B5EF4-FFF2-40B4-BE49-F238E27FC236}">
                <a16:creationId xmlns:a16="http://schemas.microsoft.com/office/drawing/2014/main" id="{3497F8DF-538B-B046-B345-11D65B097334}"/>
              </a:ext>
            </a:extLst>
          </p:cNvPr>
          <p:cNvSpPr>
            <a:spLocks noGrp="1"/>
          </p:cNvSpPr>
          <p:nvPr>
            <p:ph type="body" sz="quarter" idx="30" hasCustomPrompt="1"/>
          </p:nvPr>
        </p:nvSpPr>
        <p:spPr>
          <a:xfrm>
            <a:off x="9093600"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4" name="Title 3">
            <a:extLst>
              <a:ext uri="{FF2B5EF4-FFF2-40B4-BE49-F238E27FC236}">
                <a16:creationId xmlns:a16="http://schemas.microsoft.com/office/drawing/2014/main" id="{48AA8B9A-A01B-9540-AE63-BEEFFC61B39C}"/>
              </a:ext>
            </a:extLst>
          </p:cNvPr>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0BDADC5D-4747-BE4D-BABA-3465AD4F424F}"/>
              </a:ext>
            </a:extLst>
          </p:cNvPr>
          <p:cNvSpPr txBox="1"/>
          <p:nvPr userDrawn="1"/>
        </p:nvSpPr>
        <p:spPr>
          <a:xfrm>
            <a:off x="40640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1</a:t>
            </a:r>
            <a:endParaRPr lang="ar-SA" sz="6600" b="1" i="0" dirty="0">
              <a:solidFill>
                <a:schemeClr val="accent3"/>
              </a:solidFill>
              <a:latin typeface="Arial Black" panose="020B0604020202020204" pitchFamily="34" charset="0"/>
              <a:cs typeface="Arial Black" panose="020B0604020202020204" pitchFamily="34" charset="0"/>
            </a:endParaRPr>
          </a:p>
        </p:txBody>
      </p:sp>
      <p:sp>
        <p:nvSpPr>
          <p:cNvPr id="22" name="TextBox 21">
            <a:extLst>
              <a:ext uri="{FF2B5EF4-FFF2-40B4-BE49-F238E27FC236}">
                <a16:creationId xmlns:a16="http://schemas.microsoft.com/office/drawing/2014/main" id="{FC8BFE8E-8807-4E4C-AB88-303791BC6EF6}"/>
              </a:ext>
            </a:extLst>
          </p:cNvPr>
          <p:cNvSpPr txBox="1"/>
          <p:nvPr userDrawn="1"/>
        </p:nvSpPr>
        <p:spPr>
          <a:xfrm>
            <a:off x="334772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2</a:t>
            </a:r>
            <a:endParaRPr lang="ar-SA" sz="6600" b="1" i="0" dirty="0">
              <a:solidFill>
                <a:schemeClr val="accent3"/>
              </a:solidFill>
              <a:latin typeface="Arial Black" panose="020B0604020202020204" pitchFamily="34" charset="0"/>
              <a:cs typeface="Arial Black" panose="020B0604020202020204" pitchFamily="34" charset="0"/>
            </a:endParaRPr>
          </a:p>
        </p:txBody>
      </p:sp>
      <p:sp>
        <p:nvSpPr>
          <p:cNvPr id="28" name="TextBox 27">
            <a:extLst>
              <a:ext uri="{FF2B5EF4-FFF2-40B4-BE49-F238E27FC236}">
                <a16:creationId xmlns:a16="http://schemas.microsoft.com/office/drawing/2014/main" id="{9E1D276C-EB54-3A45-AEF3-DE29027E8670}"/>
              </a:ext>
            </a:extLst>
          </p:cNvPr>
          <p:cNvSpPr txBox="1"/>
          <p:nvPr userDrawn="1"/>
        </p:nvSpPr>
        <p:spPr>
          <a:xfrm>
            <a:off x="624840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3</a:t>
            </a:r>
            <a:endParaRPr lang="ar-SA" sz="6600" b="1" i="0" dirty="0">
              <a:solidFill>
                <a:schemeClr val="accent3"/>
              </a:solidFill>
              <a:latin typeface="Arial Black" panose="020B0604020202020204" pitchFamily="34" charset="0"/>
              <a:cs typeface="Arial Black" panose="020B0604020202020204" pitchFamily="34" charset="0"/>
            </a:endParaRPr>
          </a:p>
        </p:txBody>
      </p:sp>
      <p:sp>
        <p:nvSpPr>
          <p:cNvPr id="30" name="TextBox 29">
            <a:extLst>
              <a:ext uri="{FF2B5EF4-FFF2-40B4-BE49-F238E27FC236}">
                <a16:creationId xmlns:a16="http://schemas.microsoft.com/office/drawing/2014/main" id="{1D4EE066-2861-2749-B842-3BF8211B45C8}"/>
              </a:ext>
            </a:extLst>
          </p:cNvPr>
          <p:cNvSpPr txBox="1"/>
          <p:nvPr userDrawn="1"/>
        </p:nvSpPr>
        <p:spPr>
          <a:xfrm>
            <a:off x="918972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4</a:t>
            </a:r>
            <a:endParaRPr lang="ar-SA" sz="6600" b="1" i="0" dirty="0">
              <a:solidFill>
                <a:schemeClr val="accent3"/>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210638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guide id="2" pos="347">
          <p15:clr>
            <a:srgbClr val="FBAE40"/>
          </p15:clr>
        </p15:guide>
        <p15:guide id="3" orient="horz">
          <p15:clr>
            <a:srgbClr val="FBAE40"/>
          </p15:clr>
        </p15:guide>
        <p15:guide id="4" pos="2184">
          <p15:clr>
            <a:srgbClr val="FBAE40"/>
          </p15:clr>
        </p15:guide>
        <p15:guide id="5" pos="4009">
          <p15:clr>
            <a:srgbClr val="FBAE40"/>
          </p15:clr>
        </p15:guide>
        <p15:guide id="6" pos="58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tyle 1) 2 Column 2 Colors" preserve="1">
  <p:cSld name="(Style 1) 2 Column 2 Colors">
    <p:spTree>
      <p:nvGrpSpPr>
        <p:cNvPr id="1" name="Shape 100"/>
        <p:cNvGrpSpPr/>
        <p:nvPr/>
      </p:nvGrpSpPr>
      <p:grpSpPr>
        <a:xfrm>
          <a:off x="0" y="0"/>
          <a:ext cx="0" cy="0"/>
          <a:chOff x="0" y="0"/>
          <a:chExt cx="0" cy="0"/>
        </a:xfrm>
      </p:grpSpPr>
      <p:sp>
        <p:nvSpPr>
          <p:cNvPr id="101" name="Google Shape;101;p85"/>
          <p:cNvSpPr/>
          <p:nvPr/>
        </p:nvSpPr>
        <p:spPr>
          <a:xfrm>
            <a:off x="6096000" y="0"/>
            <a:ext cx="6096000" cy="68580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02" name="Google Shape;102;p85"/>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85"/>
          <p:cNvSpPr txBox="1">
            <a:spLocks noGrp="1"/>
          </p:cNvSpPr>
          <p:nvPr>
            <p:ph type="body" idx="1"/>
          </p:nvPr>
        </p:nvSpPr>
        <p:spPr>
          <a:xfrm>
            <a:off x="360000" y="1080000"/>
            <a:ext cx="55512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 name="Google Shape;104;p85"/>
          <p:cNvSpPr txBox="1">
            <a:spLocks noGrp="1"/>
          </p:cNvSpPr>
          <p:nvPr>
            <p:ph type="body" idx="2"/>
          </p:nvPr>
        </p:nvSpPr>
        <p:spPr>
          <a:xfrm>
            <a:off x="6262741" y="1080000"/>
            <a:ext cx="55512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solidFill>
                  <a:schemeClr val="lt1"/>
                </a:solidFill>
              </a:defRPr>
            </a:lvl1pPr>
            <a:lvl2pPr marL="914400" lvl="1" indent="-330200" algn="l">
              <a:lnSpc>
                <a:spcPct val="120000"/>
              </a:lnSpc>
              <a:spcBef>
                <a:spcPts val="500"/>
              </a:spcBef>
              <a:spcAft>
                <a:spcPts val="0"/>
              </a:spcAft>
              <a:buSzPts val="1600"/>
              <a:buChar char="-"/>
              <a:defRPr sz="1600">
                <a:solidFill>
                  <a:schemeClr val="lt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solidFill>
                  <a:schemeClr val="lt1"/>
                </a:solidFill>
              </a:defRPr>
            </a:lvl3pPr>
            <a:lvl4pPr marL="1828800" lvl="3" indent="-330200" algn="l">
              <a:lnSpc>
                <a:spcPct val="120000"/>
              </a:lnSpc>
              <a:spcBef>
                <a:spcPts val="500"/>
              </a:spcBef>
              <a:spcAft>
                <a:spcPts val="0"/>
              </a:spcAft>
              <a:buSzPts val="1600"/>
              <a:buChar char="•"/>
              <a:defRPr>
                <a:solidFill>
                  <a:schemeClr val="lt1"/>
                </a:solidFill>
              </a:defRPr>
            </a:lvl4pPr>
            <a:lvl5pPr marL="2286000" lvl="4" indent="-330200" algn="l">
              <a:lnSpc>
                <a:spcPct val="120000"/>
              </a:lnSpc>
              <a:spcBef>
                <a:spcPts val="500"/>
              </a:spcBef>
              <a:spcAft>
                <a:spcPts val="0"/>
              </a:spcAft>
              <a:buSzPts val="16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 name="Google Shape;105;p85"/>
          <p:cNvSpPr txBox="1">
            <a:spLocks noGrp="1"/>
          </p:cNvSpPr>
          <p:nvPr>
            <p:ph type="sldNum" idx="12"/>
          </p:nvPr>
        </p:nvSpPr>
        <p:spPr>
          <a:xfrm>
            <a:off x="6262741" y="6227400"/>
            <a:ext cx="147742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800">
                <a:solidFill>
                  <a:schemeClr val="accent5"/>
                </a:solidFill>
                <a:latin typeface="Arial"/>
                <a:ea typeface="Arial"/>
                <a:cs typeface="Arial"/>
                <a:sym typeface="Arial"/>
              </a:defRPr>
            </a:lvl1pPr>
            <a:lvl2pPr marL="0" lvl="1" indent="0" algn="l">
              <a:spcBef>
                <a:spcPts val="0"/>
              </a:spcBef>
              <a:buNone/>
              <a:defRPr sz="800">
                <a:solidFill>
                  <a:schemeClr val="accent5"/>
                </a:solidFill>
                <a:latin typeface="Arial"/>
                <a:ea typeface="Arial"/>
                <a:cs typeface="Arial"/>
                <a:sym typeface="Arial"/>
              </a:defRPr>
            </a:lvl2pPr>
            <a:lvl3pPr marL="0" lvl="2" indent="0" algn="l">
              <a:spcBef>
                <a:spcPts val="0"/>
              </a:spcBef>
              <a:buNone/>
              <a:defRPr sz="800">
                <a:solidFill>
                  <a:schemeClr val="accent5"/>
                </a:solidFill>
                <a:latin typeface="Arial"/>
                <a:ea typeface="Arial"/>
                <a:cs typeface="Arial"/>
                <a:sym typeface="Arial"/>
              </a:defRPr>
            </a:lvl3pPr>
            <a:lvl4pPr marL="0" lvl="3" indent="0" algn="l">
              <a:spcBef>
                <a:spcPts val="0"/>
              </a:spcBef>
              <a:buNone/>
              <a:defRPr sz="800">
                <a:solidFill>
                  <a:schemeClr val="accent5"/>
                </a:solidFill>
                <a:latin typeface="Arial"/>
                <a:ea typeface="Arial"/>
                <a:cs typeface="Arial"/>
                <a:sym typeface="Arial"/>
              </a:defRPr>
            </a:lvl4pPr>
            <a:lvl5pPr marL="0" lvl="4" indent="0" algn="l">
              <a:spcBef>
                <a:spcPts val="0"/>
              </a:spcBef>
              <a:buNone/>
              <a:defRPr sz="800">
                <a:solidFill>
                  <a:schemeClr val="accent5"/>
                </a:solidFill>
                <a:latin typeface="Arial"/>
                <a:ea typeface="Arial"/>
                <a:cs typeface="Arial"/>
                <a:sym typeface="Arial"/>
              </a:defRPr>
            </a:lvl5pPr>
            <a:lvl6pPr marL="0" lvl="5" indent="0" algn="l">
              <a:spcBef>
                <a:spcPts val="0"/>
              </a:spcBef>
              <a:buNone/>
              <a:defRPr sz="800">
                <a:solidFill>
                  <a:schemeClr val="accent5"/>
                </a:solidFill>
                <a:latin typeface="Arial"/>
                <a:ea typeface="Arial"/>
                <a:cs typeface="Arial"/>
                <a:sym typeface="Arial"/>
              </a:defRPr>
            </a:lvl6pPr>
            <a:lvl7pPr marL="0" lvl="6" indent="0" algn="l">
              <a:spcBef>
                <a:spcPts val="0"/>
              </a:spcBef>
              <a:buNone/>
              <a:defRPr sz="800">
                <a:solidFill>
                  <a:schemeClr val="accent5"/>
                </a:solidFill>
                <a:latin typeface="Arial"/>
                <a:ea typeface="Arial"/>
                <a:cs typeface="Arial"/>
                <a:sym typeface="Arial"/>
              </a:defRPr>
            </a:lvl7pPr>
            <a:lvl8pPr marL="0" lvl="7" indent="0" algn="l">
              <a:spcBef>
                <a:spcPts val="0"/>
              </a:spcBef>
              <a:buNone/>
              <a:defRPr sz="800">
                <a:solidFill>
                  <a:schemeClr val="accent5"/>
                </a:solidFill>
                <a:latin typeface="Arial"/>
                <a:ea typeface="Arial"/>
                <a:cs typeface="Arial"/>
                <a:sym typeface="Arial"/>
              </a:defRPr>
            </a:lvl8pPr>
            <a:lvl9pPr marL="0" lvl="8" indent="0" algn="l">
              <a:spcBef>
                <a:spcPts val="0"/>
              </a:spcBef>
              <a:buNone/>
              <a:defRPr sz="800">
                <a:solidFill>
                  <a:schemeClr val="accent5"/>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pic>
        <p:nvPicPr>
          <p:cNvPr id="106" name="Google Shape;106;p85"/>
          <p:cNvPicPr preferRelativeResize="0"/>
          <p:nvPr/>
        </p:nvPicPr>
        <p:blipFill rotWithShape="1">
          <a:blip r:embed="rId2">
            <a:alphaModFix/>
          </a:blip>
          <a:srcRect/>
          <a:stretch/>
        </p:blipFill>
        <p:spPr>
          <a:xfrm>
            <a:off x="11432396" y="6229962"/>
            <a:ext cx="391304" cy="360000"/>
          </a:xfrm>
          <a:prstGeom prst="rect">
            <a:avLst/>
          </a:prstGeom>
          <a:noFill/>
          <a:ln>
            <a:noFill/>
          </a:ln>
        </p:spPr>
      </p:pic>
    </p:spTree>
    <p:extLst>
      <p:ext uri="{BB962C8B-B14F-4D97-AF65-F5344CB8AC3E}">
        <p14:creationId xmlns:p14="http://schemas.microsoft.com/office/powerpoint/2010/main" val="370512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 boxes with Publication 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4" name="Rectangle 3">
            <a:extLst>
              <a:ext uri="{FF2B5EF4-FFF2-40B4-BE49-F238E27FC236}">
                <a16:creationId xmlns:a16="http://schemas.microsoft.com/office/drawing/2014/main" id="{610ACDF2-F023-A54E-B2A2-0E26810C5758}"/>
              </a:ext>
            </a:extLst>
          </p:cNvPr>
          <p:cNvSpPr/>
          <p:nvPr userDrawn="1"/>
        </p:nvSpPr>
        <p:spPr>
          <a:xfrm>
            <a:off x="360422"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sz="1200" dirty="0"/>
          </a:p>
        </p:txBody>
      </p:sp>
      <p:sp>
        <p:nvSpPr>
          <p:cNvPr id="21" name="Rectangle 20">
            <a:extLst>
              <a:ext uri="{FF2B5EF4-FFF2-40B4-BE49-F238E27FC236}">
                <a16:creationId xmlns:a16="http://schemas.microsoft.com/office/drawing/2014/main" id="{5DD11B46-3736-EF45-A40B-89CAA140BA1D}"/>
              </a:ext>
            </a:extLst>
          </p:cNvPr>
          <p:cNvSpPr/>
          <p:nvPr userDrawn="1"/>
        </p:nvSpPr>
        <p:spPr>
          <a:xfrm>
            <a:off x="3239556"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2" name="Rectangle 21">
            <a:extLst>
              <a:ext uri="{FF2B5EF4-FFF2-40B4-BE49-F238E27FC236}">
                <a16:creationId xmlns:a16="http://schemas.microsoft.com/office/drawing/2014/main" id="{F7CAA59F-8E4A-FC46-A12F-FB334D030986}"/>
              </a:ext>
            </a:extLst>
          </p:cNvPr>
          <p:cNvSpPr/>
          <p:nvPr userDrawn="1"/>
        </p:nvSpPr>
        <p:spPr>
          <a:xfrm>
            <a:off x="6119114"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8" name="Rectangle 27">
            <a:extLst>
              <a:ext uri="{FF2B5EF4-FFF2-40B4-BE49-F238E27FC236}">
                <a16:creationId xmlns:a16="http://schemas.microsoft.com/office/drawing/2014/main" id="{9754C047-12EC-5743-BFFB-FE2A692E47C9}"/>
              </a:ext>
            </a:extLst>
          </p:cNvPr>
          <p:cNvSpPr/>
          <p:nvPr userDrawn="1"/>
        </p:nvSpPr>
        <p:spPr>
          <a:xfrm>
            <a:off x="8998671"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7" name="Rectangle 56">
            <a:extLst>
              <a:ext uri="{FF2B5EF4-FFF2-40B4-BE49-F238E27FC236}">
                <a16:creationId xmlns:a16="http://schemas.microsoft.com/office/drawing/2014/main" id="{4661CE75-641E-CE4F-84A9-ABE2C6D81CD4}"/>
              </a:ext>
            </a:extLst>
          </p:cNvPr>
          <p:cNvSpPr/>
          <p:nvPr userDrawn="1"/>
        </p:nvSpPr>
        <p:spPr>
          <a:xfrm>
            <a:off x="359998"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8" name="Rectangle 57">
            <a:extLst>
              <a:ext uri="{FF2B5EF4-FFF2-40B4-BE49-F238E27FC236}">
                <a16:creationId xmlns:a16="http://schemas.microsoft.com/office/drawing/2014/main" id="{98823237-1928-7042-AF2C-FC9297064A76}"/>
              </a:ext>
            </a:extLst>
          </p:cNvPr>
          <p:cNvSpPr/>
          <p:nvPr userDrawn="1"/>
        </p:nvSpPr>
        <p:spPr>
          <a:xfrm>
            <a:off x="3239556"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9" name="Rectangle 58">
            <a:extLst>
              <a:ext uri="{FF2B5EF4-FFF2-40B4-BE49-F238E27FC236}">
                <a16:creationId xmlns:a16="http://schemas.microsoft.com/office/drawing/2014/main" id="{5A24F87B-5B27-4241-9324-6B3BB60CCCDD}"/>
              </a:ext>
            </a:extLst>
          </p:cNvPr>
          <p:cNvSpPr/>
          <p:nvPr userDrawn="1"/>
        </p:nvSpPr>
        <p:spPr>
          <a:xfrm>
            <a:off x="6119114"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0" name="Rectangle 59">
            <a:extLst>
              <a:ext uri="{FF2B5EF4-FFF2-40B4-BE49-F238E27FC236}">
                <a16:creationId xmlns:a16="http://schemas.microsoft.com/office/drawing/2014/main" id="{027092B3-185D-424E-BD75-3F3D6AD80906}"/>
              </a:ext>
            </a:extLst>
          </p:cNvPr>
          <p:cNvSpPr/>
          <p:nvPr userDrawn="1"/>
        </p:nvSpPr>
        <p:spPr>
          <a:xfrm>
            <a:off x="8998671"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1" name="Rectangle 60">
            <a:extLst>
              <a:ext uri="{FF2B5EF4-FFF2-40B4-BE49-F238E27FC236}">
                <a16:creationId xmlns:a16="http://schemas.microsoft.com/office/drawing/2014/main" id="{180EFAF0-822D-5A49-9115-EE4190F10D74}"/>
              </a:ext>
            </a:extLst>
          </p:cNvPr>
          <p:cNvSpPr/>
          <p:nvPr userDrawn="1"/>
        </p:nvSpPr>
        <p:spPr>
          <a:xfrm>
            <a:off x="359998"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2" name="Rectangle 61">
            <a:extLst>
              <a:ext uri="{FF2B5EF4-FFF2-40B4-BE49-F238E27FC236}">
                <a16:creationId xmlns:a16="http://schemas.microsoft.com/office/drawing/2014/main" id="{ABA03062-2B5F-C443-A4B7-7B31EF4196D2}"/>
              </a:ext>
            </a:extLst>
          </p:cNvPr>
          <p:cNvSpPr/>
          <p:nvPr userDrawn="1"/>
        </p:nvSpPr>
        <p:spPr>
          <a:xfrm>
            <a:off x="3239556"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3" name="Rectangle 62">
            <a:extLst>
              <a:ext uri="{FF2B5EF4-FFF2-40B4-BE49-F238E27FC236}">
                <a16:creationId xmlns:a16="http://schemas.microsoft.com/office/drawing/2014/main" id="{1001E479-5701-584B-8602-456316BB7B7D}"/>
              </a:ext>
            </a:extLst>
          </p:cNvPr>
          <p:cNvSpPr/>
          <p:nvPr userDrawn="1"/>
        </p:nvSpPr>
        <p:spPr>
          <a:xfrm>
            <a:off x="6119114"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4" name="Rectangle 63">
            <a:extLst>
              <a:ext uri="{FF2B5EF4-FFF2-40B4-BE49-F238E27FC236}">
                <a16:creationId xmlns:a16="http://schemas.microsoft.com/office/drawing/2014/main" id="{7ACBE2C6-D6BE-7241-B78B-1F3CACC06AA9}"/>
              </a:ext>
            </a:extLst>
          </p:cNvPr>
          <p:cNvSpPr/>
          <p:nvPr userDrawn="1"/>
        </p:nvSpPr>
        <p:spPr>
          <a:xfrm>
            <a:off x="8998671"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 name="Text Placeholder 6">
            <a:extLst>
              <a:ext uri="{FF2B5EF4-FFF2-40B4-BE49-F238E27FC236}">
                <a16:creationId xmlns:a16="http://schemas.microsoft.com/office/drawing/2014/main" id="{FF4501F0-9F8E-9D4C-A778-43CA6B8E4248}"/>
              </a:ext>
            </a:extLst>
          </p:cNvPr>
          <p:cNvSpPr>
            <a:spLocks noGrp="1"/>
          </p:cNvSpPr>
          <p:nvPr>
            <p:ph type="body" sz="quarter" idx="11" hasCustomPrompt="1"/>
          </p:nvPr>
        </p:nvSpPr>
        <p:spPr>
          <a:xfrm>
            <a:off x="360422"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65" name="Text Placeholder 6">
            <a:extLst>
              <a:ext uri="{FF2B5EF4-FFF2-40B4-BE49-F238E27FC236}">
                <a16:creationId xmlns:a16="http://schemas.microsoft.com/office/drawing/2014/main" id="{F7846371-0C77-AA40-97A0-79E56BACB943}"/>
              </a:ext>
            </a:extLst>
          </p:cNvPr>
          <p:cNvSpPr>
            <a:spLocks noGrp="1"/>
          </p:cNvSpPr>
          <p:nvPr>
            <p:ph type="body" sz="quarter" idx="12" hasCustomPrompt="1"/>
          </p:nvPr>
        </p:nvSpPr>
        <p:spPr>
          <a:xfrm>
            <a:off x="360422"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66" name="Text Placeholder 6">
            <a:extLst>
              <a:ext uri="{FF2B5EF4-FFF2-40B4-BE49-F238E27FC236}">
                <a16:creationId xmlns:a16="http://schemas.microsoft.com/office/drawing/2014/main" id="{28A94B59-1B67-DC42-85E9-31D3553CD9CC}"/>
              </a:ext>
            </a:extLst>
          </p:cNvPr>
          <p:cNvSpPr>
            <a:spLocks noGrp="1"/>
          </p:cNvSpPr>
          <p:nvPr>
            <p:ph type="body" sz="quarter" idx="13" hasCustomPrompt="1"/>
          </p:nvPr>
        </p:nvSpPr>
        <p:spPr>
          <a:xfrm>
            <a:off x="360422"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67" name="Text Placeholder 6">
            <a:extLst>
              <a:ext uri="{FF2B5EF4-FFF2-40B4-BE49-F238E27FC236}">
                <a16:creationId xmlns:a16="http://schemas.microsoft.com/office/drawing/2014/main" id="{1C476F38-A540-D04D-8359-45D11E4845F9}"/>
              </a:ext>
            </a:extLst>
          </p:cNvPr>
          <p:cNvSpPr>
            <a:spLocks noGrp="1"/>
          </p:cNvSpPr>
          <p:nvPr>
            <p:ph type="body" sz="quarter" idx="14" hasCustomPrompt="1"/>
          </p:nvPr>
        </p:nvSpPr>
        <p:spPr>
          <a:xfrm>
            <a:off x="360422"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78" name="Text Placeholder 6">
            <a:extLst>
              <a:ext uri="{FF2B5EF4-FFF2-40B4-BE49-F238E27FC236}">
                <a16:creationId xmlns:a16="http://schemas.microsoft.com/office/drawing/2014/main" id="{5A695B54-20C5-7A48-A56E-F4D46C7AFE83}"/>
              </a:ext>
            </a:extLst>
          </p:cNvPr>
          <p:cNvSpPr>
            <a:spLocks noGrp="1"/>
          </p:cNvSpPr>
          <p:nvPr>
            <p:ph type="body" sz="quarter" idx="15" hasCustomPrompt="1"/>
          </p:nvPr>
        </p:nvSpPr>
        <p:spPr>
          <a:xfrm>
            <a:off x="3239556"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79" name="Text Placeholder 6">
            <a:extLst>
              <a:ext uri="{FF2B5EF4-FFF2-40B4-BE49-F238E27FC236}">
                <a16:creationId xmlns:a16="http://schemas.microsoft.com/office/drawing/2014/main" id="{AA756910-5D79-0D43-8AAC-266225CE19F1}"/>
              </a:ext>
            </a:extLst>
          </p:cNvPr>
          <p:cNvSpPr>
            <a:spLocks noGrp="1"/>
          </p:cNvSpPr>
          <p:nvPr>
            <p:ph type="body" sz="quarter" idx="16" hasCustomPrompt="1"/>
          </p:nvPr>
        </p:nvSpPr>
        <p:spPr>
          <a:xfrm>
            <a:off x="3239556"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80" name="Text Placeholder 6">
            <a:extLst>
              <a:ext uri="{FF2B5EF4-FFF2-40B4-BE49-F238E27FC236}">
                <a16:creationId xmlns:a16="http://schemas.microsoft.com/office/drawing/2014/main" id="{EA85A560-FDB3-9442-9A85-D24C7934104D}"/>
              </a:ext>
            </a:extLst>
          </p:cNvPr>
          <p:cNvSpPr>
            <a:spLocks noGrp="1"/>
          </p:cNvSpPr>
          <p:nvPr>
            <p:ph type="body" sz="quarter" idx="17" hasCustomPrompt="1"/>
          </p:nvPr>
        </p:nvSpPr>
        <p:spPr>
          <a:xfrm>
            <a:off x="3239556"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81" name="Text Placeholder 6">
            <a:extLst>
              <a:ext uri="{FF2B5EF4-FFF2-40B4-BE49-F238E27FC236}">
                <a16:creationId xmlns:a16="http://schemas.microsoft.com/office/drawing/2014/main" id="{AAA7411B-CDBF-A149-991D-A1FE49C33DFE}"/>
              </a:ext>
            </a:extLst>
          </p:cNvPr>
          <p:cNvSpPr>
            <a:spLocks noGrp="1"/>
          </p:cNvSpPr>
          <p:nvPr>
            <p:ph type="body" sz="quarter" idx="18" hasCustomPrompt="1"/>
          </p:nvPr>
        </p:nvSpPr>
        <p:spPr>
          <a:xfrm>
            <a:off x="3239556"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82" name="Text Placeholder 6">
            <a:extLst>
              <a:ext uri="{FF2B5EF4-FFF2-40B4-BE49-F238E27FC236}">
                <a16:creationId xmlns:a16="http://schemas.microsoft.com/office/drawing/2014/main" id="{ADB258B7-2AAE-5C48-B066-A21DD8B552C0}"/>
              </a:ext>
            </a:extLst>
          </p:cNvPr>
          <p:cNvSpPr>
            <a:spLocks noGrp="1"/>
          </p:cNvSpPr>
          <p:nvPr>
            <p:ph type="body" sz="quarter" idx="19" hasCustomPrompt="1"/>
          </p:nvPr>
        </p:nvSpPr>
        <p:spPr>
          <a:xfrm>
            <a:off x="6119114"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83" name="Text Placeholder 6">
            <a:extLst>
              <a:ext uri="{FF2B5EF4-FFF2-40B4-BE49-F238E27FC236}">
                <a16:creationId xmlns:a16="http://schemas.microsoft.com/office/drawing/2014/main" id="{F0249E73-3616-574F-A8E5-AA3CB8319106}"/>
              </a:ext>
            </a:extLst>
          </p:cNvPr>
          <p:cNvSpPr>
            <a:spLocks noGrp="1"/>
          </p:cNvSpPr>
          <p:nvPr>
            <p:ph type="body" sz="quarter" idx="20" hasCustomPrompt="1"/>
          </p:nvPr>
        </p:nvSpPr>
        <p:spPr>
          <a:xfrm>
            <a:off x="6119114"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84" name="Text Placeholder 6">
            <a:extLst>
              <a:ext uri="{FF2B5EF4-FFF2-40B4-BE49-F238E27FC236}">
                <a16:creationId xmlns:a16="http://schemas.microsoft.com/office/drawing/2014/main" id="{8F73A1B1-0BD5-354F-9F47-A2FC034EB70D}"/>
              </a:ext>
            </a:extLst>
          </p:cNvPr>
          <p:cNvSpPr>
            <a:spLocks noGrp="1"/>
          </p:cNvSpPr>
          <p:nvPr>
            <p:ph type="body" sz="quarter" idx="21" hasCustomPrompt="1"/>
          </p:nvPr>
        </p:nvSpPr>
        <p:spPr>
          <a:xfrm>
            <a:off x="6119114"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85" name="Text Placeholder 6">
            <a:extLst>
              <a:ext uri="{FF2B5EF4-FFF2-40B4-BE49-F238E27FC236}">
                <a16:creationId xmlns:a16="http://schemas.microsoft.com/office/drawing/2014/main" id="{D5A425F6-3CC9-F845-9EEF-1B89239D1E52}"/>
              </a:ext>
            </a:extLst>
          </p:cNvPr>
          <p:cNvSpPr>
            <a:spLocks noGrp="1"/>
          </p:cNvSpPr>
          <p:nvPr>
            <p:ph type="body" sz="quarter" idx="22" hasCustomPrompt="1"/>
          </p:nvPr>
        </p:nvSpPr>
        <p:spPr>
          <a:xfrm>
            <a:off x="6119114"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86" name="Text Placeholder 6">
            <a:extLst>
              <a:ext uri="{FF2B5EF4-FFF2-40B4-BE49-F238E27FC236}">
                <a16:creationId xmlns:a16="http://schemas.microsoft.com/office/drawing/2014/main" id="{FA514857-C845-0541-9EE8-77328F0E7D5B}"/>
              </a:ext>
            </a:extLst>
          </p:cNvPr>
          <p:cNvSpPr>
            <a:spLocks noGrp="1"/>
          </p:cNvSpPr>
          <p:nvPr>
            <p:ph type="body" sz="quarter" idx="23" hasCustomPrompt="1"/>
          </p:nvPr>
        </p:nvSpPr>
        <p:spPr>
          <a:xfrm>
            <a:off x="8998671"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87" name="Text Placeholder 6">
            <a:extLst>
              <a:ext uri="{FF2B5EF4-FFF2-40B4-BE49-F238E27FC236}">
                <a16:creationId xmlns:a16="http://schemas.microsoft.com/office/drawing/2014/main" id="{7E3754B0-FAD2-2443-A6AA-D782C79F79DB}"/>
              </a:ext>
            </a:extLst>
          </p:cNvPr>
          <p:cNvSpPr>
            <a:spLocks noGrp="1"/>
          </p:cNvSpPr>
          <p:nvPr>
            <p:ph type="body" sz="quarter" idx="24" hasCustomPrompt="1"/>
          </p:nvPr>
        </p:nvSpPr>
        <p:spPr>
          <a:xfrm>
            <a:off x="8998671"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88" name="Text Placeholder 6">
            <a:extLst>
              <a:ext uri="{FF2B5EF4-FFF2-40B4-BE49-F238E27FC236}">
                <a16:creationId xmlns:a16="http://schemas.microsoft.com/office/drawing/2014/main" id="{0A512161-1478-E840-847C-CE0FA3769830}"/>
              </a:ext>
            </a:extLst>
          </p:cNvPr>
          <p:cNvSpPr>
            <a:spLocks noGrp="1"/>
          </p:cNvSpPr>
          <p:nvPr>
            <p:ph type="body" sz="quarter" idx="25" hasCustomPrompt="1"/>
          </p:nvPr>
        </p:nvSpPr>
        <p:spPr>
          <a:xfrm>
            <a:off x="8998671"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89" name="Text Placeholder 6">
            <a:extLst>
              <a:ext uri="{FF2B5EF4-FFF2-40B4-BE49-F238E27FC236}">
                <a16:creationId xmlns:a16="http://schemas.microsoft.com/office/drawing/2014/main" id="{0C6D09DC-1E71-4944-80BC-2E01DA6B9707}"/>
              </a:ext>
            </a:extLst>
          </p:cNvPr>
          <p:cNvSpPr>
            <a:spLocks noGrp="1"/>
          </p:cNvSpPr>
          <p:nvPr>
            <p:ph type="body" sz="quarter" idx="26" hasCustomPrompt="1"/>
          </p:nvPr>
        </p:nvSpPr>
        <p:spPr>
          <a:xfrm>
            <a:off x="8998671"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90" name="Text Placeholder 6">
            <a:extLst>
              <a:ext uri="{FF2B5EF4-FFF2-40B4-BE49-F238E27FC236}">
                <a16:creationId xmlns:a16="http://schemas.microsoft.com/office/drawing/2014/main" id="{0C800B41-610B-4149-801F-EEEBC03C2BB3}"/>
              </a:ext>
            </a:extLst>
          </p:cNvPr>
          <p:cNvSpPr>
            <a:spLocks noGrp="1"/>
          </p:cNvSpPr>
          <p:nvPr>
            <p:ph type="body" sz="quarter" idx="27" hasCustomPrompt="1"/>
          </p:nvPr>
        </p:nvSpPr>
        <p:spPr>
          <a:xfrm>
            <a:off x="371938"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91" name="Text Placeholder 6">
            <a:extLst>
              <a:ext uri="{FF2B5EF4-FFF2-40B4-BE49-F238E27FC236}">
                <a16:creationId xmlns:a16="http://schemas.microsoft.com/office/drawing/2014/main" id="{92B66CDB-4811-7A46-A093-02BA961AE8A5}"/>
              </a:ext>
            </a:extLst>
          </p:cNvPr>
          <p:cNvSpPr>
            <a:spLocks noGrp="1"/>
          </p:cNvSpPr>
          <p:nvPr>
            <p:ph type="body" sz="quarter" idx="28" hasCustomPrompt="1"/>
          </p:nvPr>
        </p:nvSpPr>
        <p:spPr>
          <a:xfrm>
            <a:off x="371938"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92" name="Text Placeholder 6">
            <a:extLst>
              <a:ext uri="{FF2B5EF4-FFF2-40B4-BE49-F238E27FC236}">
                <a16:creationId xmlns:a16="http://schemas.microsoft.com/office/drawing/2014/main" id="{7CAF6228-52C9-F34E-83CB-B9AD09E50FBE}"/>
              </a:ext>
            </a:extLst>
          </p:cNvPr>
          <p:cNvSpPr>
            <a:spLocks noGrp="1"/>
          </p:cNvSpPr>
          <p:nvPr>
            <p:ph type="body" sz="quarter" idx="29" hasCustomPrompt="1"/>
          </p:nvPr>
        </p:nvSpPr>
        <p:spPr>
          <a:xfrm>
            <a:off x="371938"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93" name="Text Placeholder 6">
            <a:extLst>
              <a:ext uri="{FF2B5EF4-FFF2-40B4-BE49-F238E27FC236}">
                <a16:creationId xmlns:a16="http://schemas.microsoft.com/office/drawing/2014/main" id="{08ABF058-971A-A64C-9AB2-6A26BDD76D01}"/>
              </a:ext>
            </a:extLst>
          </p:cNvPr>
          <p:cNvSpPr>
            <a:spLocks noGrp="1"/>
          </p:cNvSpPr>
          <p:nvPr>
            <p:ph type="body" sz="quarter" idx="30" hasCustomPrompt="1"/>
          </p:nvPr>
        </p:nvSpPr>
        <p:spPr>
          <a:xfrm>
            <a:off x="371938"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94" name="Text Placeholder 6">
            <a:extLst>
              <a:ext uri="{FF2B5EF4-FFF2-40B4-BE49-F238E27FC236}">
                <a16:creationId xmlns:a16="http://schemas.microsoft.com/office/drawing/2014/main" id="{10898A28-3A35-C44F-B00A-A4B130FE6E01}"/>
              </a:ext>
            </a:extLst>
          </p:cNvPr>
          <p:cNvSpPr>
            <a:spLocks noGrp="1"/>
          </p:cNvSpPr>
          <p:nvPr>
            <p:ph type="body" sz="quarter" idx="31" hasCustomPrompt="1"/>
          </p:nvPr>
        </p:nvSpPr>
        <p:spPr>
          <a:xfrm>
            <a:off x="3242460"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95" name="Text Placeholder 6">
            <a:extLst>
              <a:ext uri="{FF2B5EF4-FFF2-40B4-BE49-F238E27FC236}">
                <a16:creationId xmlns:a16="http://schemas.microsoft.com/office/drawing/2014/main" id="{8CB48A1B-F3E1-9342-9F96-2A669FEB8556}"/>
              </a:ext>
            </a:extLst>
          </p:cNvPr>
          <p:cNvSpPr>
            <a:spLocks noGrp="1"/>
          </p:cNvSpPr>
          <p:nvPr>
            <p:ph type="body" sz="quarter" idx="32" hasCustomPrompt="1"/>
          </p:nvPr>
        </p:nvSpPr>
        <p:spPr>
          <a:xfrm>
            <a:off x="3242460"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96" name="Text Placeholder 6">
            <a:extLst>
              <a:ext uri="{FF2B5EF4-FFF2-40B4-BE49-F238E27FC236}">
                <a16:creationId xmlns:a16="http://schemas.microsoft.com/office/drawing/2014/main" id="{2737EBFE-85B1-F444-90EA-2A420513A16F}"/>
              </a:ext>
            </a:extLst>
          </p:cNvPr>
          <p:cNvSpPr>
            <a:spLocks noGrp="1"/>
          </p:cNvSpPr>
          <p:nvPr>
            <p:ph type="body" sz="quarter" idx="33" hasCustomPrompt="1"/>
          </p:nvPr>
        </p:nvSpPr>
        <p:spPr>
          <a:xfrm>
            <a:off x="3242460"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97" name="Text Placeholder 6">
            <a:extLst>
              <a:ext uri="{FF2B5EF4-FFF2-40B4-BE49-F238E27FC236}">
                <a16:creationId xmlns:a16="http://schemas.microsoft.com/office/drawing/2014/main" id="{4918F6ED-78B0-294D-BAF9-4DDCA62D8EA2}"/>
              </a:ext>
            </a:extLst>
          </p:cNvPr>
          <p:cNvSpPr>
            <a:spLocks noGrp="1"/>
          </p:cNvSpPr>
          <p:nvPr>
            <p:ph type="body" sz="quarter" idx="34" hasCustomPrompt="1"/>
          </p:nvPr>
        </p:nvSpPr>
        <p:spPr>
          <a:xfrm>
            <a:off x="3242460"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98" name="Text Placeholder 6">
            <a:extLst>
              <a:ext uri="{FF2B5EF4-FFF2-40B4-BE49-F238E27FC236}">
                <a16:creationId xmlns:a16="http://schemas.microsoft.com/office/drawing/2014/main" id="{A6135E30-376A-414E-BF09-74BBC4932D5C}"/>
              </a:ext>
            </a:extLst>
          </p:cNvPr>
          <p:cNvSpPr>
            <a:spLocks noGrp="1"/>
          </p:cNvSpPr>
          <p:nvPr>
            <p:ph type="body" sz="quarter" idx="35" hasCustomPrompt="1"/>
          </p:nvPr>
        </p:nvSpPr>
        <p:spPr>
          <a:xfrm>
            <a:off x="6124556"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99" name="Text Placeholder 6">
            <a:extLst>
              <a:ext uri="{FF2B5EF4-FFF2-40B4-BE49-F238E27FC236}">
                <a16:creationId xmlns:a16="http://schemas.microsoft.com/office/drawing/2014/main" id="{6627D379-785F-C044-81F9-C41092B1CCF2}"/>
              </a:ext>
            </a:extLst>
          </p:cNvPr>
          <p:cNvSpPr>
            <a:spLocks noGrp="1"/>
          </p:cNvSpPr>
          <p:nvPr>
            <p:ph type="body" sz="quarter" idx="36" hasCustomPrompt="1"/>
          </p:nvPr>
        </p:nvSpPr>
        <p:spPr>
          <a:xfrm>
            <a:off x="6124556"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00" name="Text Placeholder 6">
            <a:extLst>
              <a:ext uri="{FF2B5EF4-FFF2-40B4-BE49-F238E27FC236}">
                <a16:creationId xmlns:a16="http://schemas.microsoft.com/office/drawing/2014/main" id="{CB63DC66-2C8A-7644-9387-8F86500667CD}"/>
              </a:ext>
            </a:extLst>
          </p:cNvPr>
          <p:cNvSpPr>
            <a:spLocks noGrp="1"/>
          </p:cNvSpPr>
          <p:nvPr>
            <p:ph type="body" sz="quarter" idx="37" hasCustomPrompt="1"/>
          </p:nvPr>
        </p:nvSpPr>
        <p:spPr>
          <a:xfrm>
            <a:off x="6124556"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01" name="Text Placeholder 6">
            <a:extLst>
              <a:ext uri="{FF2B5EF4-FFF2-40B4-BE49-F238E27FC236}">
                <a16:creationId xmlns:a16="http://schemas.microsoft.com/office/drawing/2014/main" id="{F80FF2AA-1A95-4D49-AFC4-7AFFBA6F2FDE}"/>
              </a:ext>
            </a:extLst>
          </p:cNvPr>
          <p:cNvSpPr>
            <a:spLocks noGrp="1"/>
          </p:cNvSpPr>
          <p:nvPr>
            <p:ph type="body" sz="quarter" idx="38" hasCustomPrompt="1"/>
          </p:nvPr>
        </p:nvSpPr>
        <p:spPr>
          <a:xfrm>
            <a:off x="6124556"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02" name="Text Placeholder 6">
            <a:extLst>
              <a:ext uri="{FF2B5EF4-FFF2-40B4-BE49-F238E27FC236}">
                <a16:creationId xmlns:a16="http://schemas.microsoft.com/office/drawing/2014/main" id="{06606E1D-2ED4-B644-BC72-4DAA5DDF6D20}"/>
              </a:ext>
            </a:extLst>
          </p:cNvPr>
          <p:cNvSpPr>
            <a:spLocks noGrp="1"/>
          </p:cNvSpPr>
          <p:nvPr>
            <p:ph type="body" sz="quarter" idx="39" hasCustomPrompt="1"/>
          </p:nvPr>
        </p:nvSpPr>
        <p:spPr>
          <a:xfrm>
            <a:off x="8995077"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03" name="Text Placeholder 6">
            <a:extLst>
              <a:ext uri="{FF2B5EF4-FFF2-40B4-BE49-F238E27FC236}">
                <a16:creationId xmlns:a16="http://schemas.microsoft.com/office/drawing/2014/main" id="{E045F8CB-2F53-5F44-869C-3A006D09164E}"/>
              </a:ext>
            </a:extLst>
          </p:cNvPr>
          <p:cNvSpPr>
            <a:spLocks noGrp="1"/>
          </p:cNvSpPr>
          <p:nvPr>
            <p:ph type="body" sz="quarter" idx="40" hasCustomPrompt="1"/>
          </p:nvPr>
        </p:nvSpPr>
        <p:spPr>
          <a:xfrm>
            <a:off x="8995077"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04" name="Text Placeholder 6">
            <a:extLst>
              <a:ext uri="{FF2B5EF4-FFF2-40B4-BE49-F238E27FC236}">
                <a16:creationId xmlns:a16="http://schemas.microsoft.com/office/drawing/2014/main" id="{E86FE3B4-B347-F14E-99A3-8832D5A50299}"/>
              </a:ext>
            </a:extLst>
          </p:cNvPr>
          <p:cNvSpPr>
            <a:spLocks noGrp="1"/>
          </p:cNvSpPr>
          <p:nvPr>
            <p:ph type="body" sz="quarter" idx="41" hasCustomPrompt="1"/>
          </p:nvPr>
        </p:nvSpPr>
        <p:spPr>
          <a:xfrm>
            <a:off x="8995077"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05" name="Text Placeholder 6">
            <a:extLst>
              <a:ext uri="{FF2B5EF4-FFF2-40B4-BE49-F238E27FC236}">
                <a16:creationId xmlns:a16="http://schemas.microsoft.com/office/drawing/2014/main" id="{9130ED90-8ACF-BA4A-9D00-C68D8419362A}"/>
              </a:ext>
            </a:extLst>
          </p:cNvPr>
          <p:cNvSpPr>
            <a:spLocks noGrp="1"/>
          </p:cNvSpPr>
          <p:nvPr>
            <p:ph type="body" sz="quarter" idx="42" hasCustomPrompt="1"/>
          </p:nvPr>
        </p:nvSpPr>
        <p:spPr>
          <a:xfrm>
            <a:off x="8995077"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06" name="Text Placeholder 6">
            <a:extLst>
              <a:ext uri="{FF2B5EF4-FFF2-40B4-BE49-F238E27FC236}">
                <a16:creationId xmlns:a16="http://schemas.microsoft.com/office/drawing/2014/main" id="{752E680D-83B5-D74D-AA21-8110B124EF08}"/>
              </a:ext>
            </a:extLst>
          </p:cNvPr>
          <p:cNvSpPr>
            <a:spLocks noGrp="1"/>
          </p:cNvSpPr>
          <p:nvPr>
            <p:ph type="body" sz="quarter" idx="43" hasCustomPrompt="1"/>
          </p:nvPr>
        </p:nvSpPr>
        <p:spPr>
          <a:xfrm>
            <a:off x="371938"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07" name="Text Placeholder 6">
            <a:extLst>
              <a:ext uri="{FF2B5EF4-FFF2-40B4-BE49-F238E27FC236}">
                <a16:creationId xmlns:a16="http://schemas.microsoft.com/office/drawing/2014/main" id="{0886AAB9-2996-5F47-9517-86CE546E6B85}"/>
              </a:ext>
            </a:extLst>
          </p:cNvPr>
          <p:cNvSpPr>
            <a:spLocks noGrp="1"/>
          </p:cNvSpPr>
          <p:nvPr>
            <p:ph type="body" sz="quarter" idx="44" hasCustomPrompt="1"/>
          </p:nvPr>
        </p:nvSpPr>
        <p:spPr>
          <a:xfrm>
            <a:off x="371938"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08" name="Text Placeholder 6">
            <a:extLst>
              <a:ext uri="{FF2B5EF4-FFF2-40B4-BE49-F238E27FC236}">
                <a16:creationId xmlns:a16="http://schemas.microsoft.com/office/drawing/2014/main" id="{9DC541FD-366E-5044-8F3D-A075E8859D1D}"/>
              </a:ext>
            </a:extLst>
          </p:cNvPr>
          <p:cNvSpPr>
            <a:spLocks noGrp="1"/>
          </p:cNvSpPr>
          <p:nvPr>
            <p:ph type="body" sz="quarter" idx="45" hasCustomPrompt="1"/>
          </p:nvPr>
        </p:nvSpPr>
        <p:spPr>
          <a:xfrm>
            <a:off x="371938"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09" name="Text Placeholder 6">
            <a:extLst>
              <a:ext uri="{FF2B5EF4-FFF2-40B4-BE49-F238E27FC236}">
                <a16:creationId xmlns:a16="http://schemas.microsoft.com/office/drawing/2014/main" id="{463AD912-F828-AA4F-83B6-451B3A5E06BA}"/>
              </a:ext>
            </a:extLst>
          </p:cNvPr>
          <p:cNvSpPr>
            <a:spLocks noGrp="1"/>
          </p:cNvSpPr>
          <p:nvPr>
            <p:ph type="body" sz="quarter" idx="46" hasCustomPrompt="1"/>
          </p:nvPr>
        </p:nvSpPr>
        <p:spPr>
          <a:xfrm>
            <a:off x="371938"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10" name="Text Placeholder 6">
            <a:extLst>
              <a:ext uri="{FF2B5EF4-FFF2-40B4-BE49-F238E27FC236}">
                <a16:creationId xmlns:a16="http://schemas.microsoft.com/office/drawing/2014/main" id="{7F0C38AC-2727-EC42-9CB1-7A8C8C639003}"/>
              </a:ext>
            </a:extLst>
          </p:cNvPr>
          <p:cNvSpPr>
            <a:spLocks noGrp="1"/>
          </p:cNvSpPr>
          <p:nvPr>
            <p:ph type="body" sz="quarter" idx="47" hasCustomPrompt="1"/>
          </p:nvPr>
        </p:nvSpPr>
        <p:spPr>
          <a:xfrm>
            <a:off x="3242460"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11" name="Text Placeholder 6">
            <a:extLst>
              <a:ext uri="{FF2B5EF4-FFF2-40B4-BE49-F238E27FC236}">
                <a16:creationId xmlns:a16="http://schemas.microsoft.com/office/drawing/2014/main" id="{4C5028C5-82F0-9444-BB19-CC21B8C0F43C}"/>
              </a:ext>
            </a:extLst>
          </p:cNvPr>
          <p:cNvSpPr>
            <a:spLocks noGrp="1"/>
          </p:cNvSpPr>
          <p:nvPr>
            <p:ph type="body" sz="quarter" idx="48" hasCustomPrompt="1"/>
          </p:nvPr>
        </p:nvSpPr>
        <p:spPr>
          <a:xfrm>
            <a:off x="3242460"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12" name="Text Placeholder 6">
            <a:extLst>
              <a:ext uri="{FF2B5EF4-FFF2-40B4-BE49-F238E27FC236}">
                <a16:creationId xmlns:a16="http://schemas.microsoft.com/office/drawing/2014/main" id="{BE6B310F-6756-624E-BD02-080BDCC4C65A}"/>
              </a:ext>
            </a:extLst>
          </p:cNvPr>
          <p:cNvSpPr>
            <a:spLocks noGrp="1"/>
          </p:cNvSpPr>
          <p:nvPr>
            <p:ph type="body" sz="quarter" idx="49" hasCustomPrompt="1"/>
          </p:nvPr>
        </p:nvSpPr>
        <p:spPr>
          <a:xfrm>
            <a:off x="3242460"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13" name="Text Placeholder 6">
            <a:extLst>
              <a:ext uri="{FF2B5EF4-FFF2-40B4-BE49-F238E27FC236}">
                <a16:creationId xmlns:a16="http://schemas.microsoft.com/office/drawing/2014/main" id="{7B0B331A-9D96-8B42-AF53-24A505876EE6}"/>
              </a:ext>
            </a:extLst>
          </p:cNvPr>
          <p:cNvSpPr>
            <a:spLocks noGrp="1"/>
          </p:cNvSpPr>
          <p:nvPr>
            <p:ph type="body" sz="quarter" idx="50" hasCustomPrompt="1"/>
          </p:nvPr>
        </p:nvSpPr>
        <p:spPr>
          <a:xfrm>
            <a:off x="3242460"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14" name="Text Placeholder 6">
            <a:extLst>
              <a:ext uri="{FF2B5EF4-FFF2-40B4-BE49-F238E27FC236}">
                <a16:creationId xmlns:a16="http://schemas.microsoft.com/office/drawing/2014/main" id="{CA06D0D7-D418-2A4A-AAF2-255E8FD1F7C1}"/>
              </a:ext>
            </a:extLst>
          </p:cNvPr>
          <p:cNvSpPr>
            <a:spLocks noGrp="1"/>
          </p:cNvSpPr>
          <p:nvPr>
            <p:ph type="body" sz="quarter" idx="51" hasCustomPrompt="1"/>
          </p:nvPr>
        </p:nvSpPr>
        <p:spPr>
          <a:xfrm>
            <a:off x="6124556"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15" name="Text Placeholder 6">
            <a:extLst>
              <a:ext uri="{FF2B5EF4-FFF2-40B4-BE49-F238E27FC236}">
                <a16:creationId xmlns:a16="http://schemas.microsoft.com/office/drawing/2014/main" id="{D367DD51-72A2-E44C-ACE7-BF3A5AA22375}"/>
              </a:ext>
            </a:extLst>
          </p:cNvPr>
          <p:cNvSpPr>
            <a:spLocks noGrp="1"/>
          </p:cNvSpPr>
          <p:nvPr>
            <p:ph type="body" sz="quarter" idx="52" hasCustomPrompt="1"/>
          </p:nvPr>
        </p:nvSpPr>
        <p:spPr>
          <a:xfrm>
            <a:off x="6124556"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16" name="Text Placeholder 6">
            <a:extLst>
              <a:ext uri="{FF2B5EF4-FFF2-40B4-BE49-F238E27FC236}">
                <a16:creationId xmlns:a16="http://schemas.microsoft.com/office/drawing/2014/main" id="{D84F709B-09C5-F743-B584-1668E3736896}"/>
              </a:ext>
            </a:extLst>
          </p:cNvPr>
          <p:cNvSpPr>
            <a:spLocks noGrp="1"/>
          </p:cNvSpPr>
          <p:nvPr>
            <p:ph type="body" sz="quarter" idx="53" hasCustomPrompt="1"/>
          </p:nvPr>
        </p:nvSpPr>
        <p:spPr>
          <a:xfrm>
            <a:off x="6124556"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17" name="Text Placeholder 6">
            <a:extLst>
              <a:ext uri="{FF2B5EF4-FFF2-40B4-BE49-F238E27FC236}">
                <a16:creationId xmlns:a16="http://schemas.microsoft.com/office/drawing/2014/main" id="{3AE5009F-6316-464C-966B-05BE070F38DC}"/>
              </a:ext>
            </a:extLst>
          </p:cNvPr>
          <p:cNvSpPr>
            <a:spLocks noGrp="1"/>
          </p:cNvSpPr>
          <p:nvPr>
            <p:ph type="body" sz="quarter" idx="54" hasCustomPrompt="1"/>
          </p:nvPr>
        </p:nvSpPr>
        <p:spPr>
          <a:xfrm>
            <a:off x="6124556"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18" name="Text Placeholder 6">
            <a:extLst>
              <a:ext uri="{FF2B5EF4-FFF2-40B4-BE49-F238E27FC236}">
                <a16:creationId xmlns:a16="http://schemas.microsoft.com/office/drawing/2014/main" id="{C1FB4919-2ED9-4448-B836-82534F95851A}"/>
              </a:ext>
            </a:extLst>
          </p:cNvPr>
          <p:cNvSpPr>
            <a:spLocks noGrp="1"/>
          </p:cNvSpPr>
          <p:nvPr>
            <p:ph type="body" sz="quarter" idx="55" hasCustomPrompt="1"/>
          </p:nvPr>
        </p:nvSpPr>
        <p:spPr>
          <a:xfrm>
            <a:off x="8995077"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19" name="Text Placeholder 6">
            <a:extLst>
              <a:ext uri="{FF2B5EF4-FFF2-40B4-BE49-F238E27FC236}">
                <a16:creationId xmlns:a16="http://schemas.microsoft.com/office/drawing/2014/main" id="{4D9D6562-1B70-9543-8E99-B2382011AC3B}"/>
              </a:ext>
            </a:extLst>
          </p:cNvPr>
          <p:cNvSpPr>
            <a:spLocks noGrp="1"/>
          </p:cNvSpPr>
          <p:nvPr>
            <p:ph type="body" sz="quarter" idx="56" hasCustomPrompt="1"/>
          </p:nvPr>
        </p:nvSpPr>
        <p:spPr>
          <a:xfrm>
            <a:off x="8995077"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20" name="Text Placeholder 6">
            <a:extLst>
              <a:ext uri="{FF2B5EF4-FFF2-40B4-BE49-F238E27FC236}">
                <a16:creationId xmlns:a16="http://schemas.microsoft.com/office/drawing/2014/main" id="{F4DE1948-7ACF-E746-9377-AEDC57B144F7}"/>
              </a:ext>
            </a:extLst>
          </p:cNvPr>
          <p:cNvSpPr>
            <a:spLocks noGrp="1"/>
          </p:cNvSpPr>
          <p:nvPr>
            <p:ph type="body" sz="quarter" idx="57" hasCustomPrompt="1"/>
          </p:nvPr>
        </p:nvSpPr>
        <p:spPr>
          <a:xfrm>
            <a:off x="8995077"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21" name="Text Placeholder 6">
            <a:extLst>
              <a:ext uri="{FF2B5EF4-FFF2-40B4-BE49-F238E27FC236}">
                <a16:creationId xmlns:a16="http://schemas.microsoft.com/office/drawing/2014/main" id="{D71164E4-CA15-194B-B6BE-D79D81606716}"/>
              </a:ext>
            </a:extLst>
          </p:cNvPr>
          <p:cNvSpPr>
            <a:spLocks noGrp="1"/>
          </p:cNvSpPr>
          <p:nvPr>
            <p:ph type="body" sz="quarter" idx="58" hasCustomPrompt="1"/>
          </p:nvPr>
        </p:nvSpPr>
        <p:spPr>
          <a:xfrm>
            <a:off x="8995077"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5" name="Title 4">
            <a:extLst>
              <a:ext uri="{FF2B5EF4-FFF2-40B4-BE49-F238E27FC236}">
                <a16:creationId xmlns:a16="http://schemas.microsoft.com/office/drawing/2014/main" id="{7DCE1CBE-E68A-8846-AB88-12EB113CEA1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326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guide id="2" pos="347">
          <p15:clr>
            <a:srgbClr val="FBAE40"/>
          </p15:clr>
        </p15:guide>
        <p15:guide id="3" orient="horz">
          <p15:clr>
            <a:srgbClr val="FBAE40"/>
          </p15:clr>
        </p15:guide>
        <p15:guide id="4" pos="2184">
          <p15:clr>
            <a:srgbClr val="FBAE40"/>
          </p15:clr>
        </p15:guide>
        <p15:guide id="5" pos="4009">
          <p15:clr>
            <a:srgbClr val="FBAE40"/>
          </p15:clr>
        </p15:guide>
        <p15:guide id="6" pos="5850">
          <p15:clr>
            <a:srgbClr val="FBAE40"/>
          </p15:clr>
        </p15:guide>
        <p15:guide id="7" orient="horz" pos="161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with 9 Boxe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235A3F25-570F-F04E-B00A-D48AF5760714}"/>
              </a:ext>
            </a:extLst>
          </p:cNvPr>
          <p:cNvSpPr>
            <a:spLocks noGrp="1"/>
          </p:cNvSpPr>
          <p:nvPr>
            <p:ph type="body" sz="quarter" idx="11" hasCustomPrompt="1"/>
          </p:nvPr>
        </p:nvSpPr>
        <p:spPr>
          <a:xfrm>
            <a:off x="360000" y="1004400"/>
            <a:ext cx="11448000" cy="356400"/>
          </a:xfrm>
        </p:spPr>
        <p:txBody>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lang="en-US" sz="1600" b="1" smtClean="0">
                <a:solidFill>
                  <a:schemeClr val="tx2">
                    <a:lumMod val="60000"/>
                    <a:lumOff val="40000"/>
                  </a:schemeClr>
                </a:solidFill>
              </a:defRPr>
            </a:lvl1pPr>
          </a:lstStyle>
          <a:p>
            <a:pPr marL="0" marR="0" lvl="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a:pPr>
            <a:r>
              <a:rPr lang="en-US" sz="1600" dirty="0">
                <a:solidFill>
                  <a:schemeClr val="tx2">
                    <a:lumMod val="60000"/>
                    <a:lumOff val="40000"/>
                  </a:schemeClr>
                </a:solidFill>
                <a:latin typeface="+mj-lt"/>
              </a:rPr>
              <a:t>Lorem Ipsum is simply dummy text</a:t>
            </a:r>
          </a:p>
        </p:txBody>
      </p:sp>
      <p:sp>
        <p:nvSpPr>
          <p:cNvPr id="8" name="Rectangle 7">
            <a:extLst>
              <a:ext uri="{FF2B5EF4-FFF2-40B4-BE49-F238E27FC236}">
                <a16:creationId xmlns:a16="http://schemas.microsoft.com/office/drawing/2014/main" id="{62134344-C9D9-5148-8699-71277A806039}"/>
              </a:ext>
            </a:extLst>
          </p:cNvPr>
          <p:cNvSpPr/>
          <p:nvPr userDrawn="1"/>
        </p:nvSpPr>
        <p:spPr>
          <a:xfrm>
            <a:off x="3600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72" name="Rectangle 71">
            <a:extLst>
              <a:ext uri="{FF2B5EF4-FFF2-40B4-BE49-F238E27FC236}">
                <a16:creationId xmlns:a16="http://schemas.microsoft.com/office/drawing/2014/main" id="{094A5378-4235-314B-BAAE-7932FF25421A}"/>
              </a:ext>
            </a:extLst>
          </p:cNvPr>
          <p:cNvSpPr/>
          <p:nvPr userDrawn="1"/>
        </p:nvSpPr>
        <p:spPr>
          <a:xfrm>
            <a:off x="32472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73" name="Rectangle 72">
            <a:extLst>
              <a:ext uri="{FF2B5EF4-FFF2-40B4-BE49-F238E27FC236}">
                <a16:creationId xmlns:a16="http://schemas.microsoft.com/office/drawing/2014/main" id="{38A9CAD7-AE2E-CD4B-970F-3FD95F739EBD}"/>
              </a:ext>
            </a:extLst>
          </p:cNvPr>
          <p:cNvSpPr/>
          <p:nvPr userDrawn="1"/>
        </p:nvSpPr>
        <p:spPr>
          <a:xfrm>
            <a:off x="61344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74" name="Rectangle 73">
            <a:extLst>
              <a:ext uri="{FF2B5EF4-FFF2-40B4-BE49-F238E27FC236}">
                <a16:creationId xmlns:a16="http://schemas.microsoft.com/office/drawing/2014/main" id="{9978CE02-1F23-A84E-A84A-23A64C35B22F}"/>
              </a:ext>
            </a:extLst>
          </p:cNvPr>
          <p:cNvSpPr/>
          <p:nvPr userDrawn="1"/>
        </p:nvSpPr>
        <p:spPr>
          <a:xfrm>
            <a:off x="90216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0" name="Text Placeholder 9">
            <a:extLst>
              <a:ext uri="{FF2B5EF4-FFF2-40B4-BE49-F238E27FC236}">
                <a16:creationId xmlns:a16="http://schemas.microsoft.com/office/drawing/2014/main" id="{39C6CB86-76A1-FC49-977F-07EA213FFC6F}"/>
              </a:ext>
            </a:extLst>
          </p:cNvPr>
          <p:cNvSpPr>
            <a:spLocks noGrp="1"/>
          </p:cNvSpPr>
          <p:nvPr>
            <p:ph type="body" sz="quarter" idx="12" hasCustomPrompt="1"/>
          </p:nvPr>
        </p:nvSpPr>
        <p:spPr>
          <a:xfrm>
            <a:off x="360363"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76" name="Text Placeholder 9">
            <a:extLst>
              <a:ext uri="{FF2B5EF4-FFF2-40B4-BE49-F238E27FC236}">
                <a16:creationId xmlns:a16="http://schemas.microsoft.com/office/drawing/2014/main" id="{C3B5E739-104B-EB40-AC0E-FE280B84924F}"/>
              </a:ext>
            </a:extLst>
          </p:cNvPr>
          <p:cNvSpPr>
            <a:spLocks noGrp="1"/>
          </p:cNvSpPr>
          <p:nvPr>
            <p:ph type="body" sz="quarter" idx="13" hasCustomPrompt="1"/>
          </p:nvPr>
        </p:nvSpPr>
        <p:spPr>
          <a:xfrm>
            <a:off x="360363"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77" name="Text Placeholder 9">
            <a:extLst>
              <a:ext uri="{FF2B5EF4-FFF2-40B4-BE49-F238E27FC236}">
                <a16:creationId xmlns:a16="http://schemas.microsoft.com/office/drawing/2014/main" id="{246ADBD8-3FCE-EA49-8685-6EC4B21126F8}"/>
              </a:ext>
            </a:extLst>
          </p:cNvPr>
          <p:cNvSpPr>
            <a:spLocks noGrp="1"/>
          </p:cNvSpPr>
          <p:nvPr>
            <p:ph type="body" sz="quarter" idx="14" hasCustomPrompt="1"/>
          </p:nvPr>
        </p:nvSpPr>
        <p:spPr>
          <a:xfrm>
            <a:off x="3247200"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122" name="Text Placeholder 9">
            <a:extLst>
              <a:ext uri="{FF2B5EF4-FFF2-40B4-BE49-F238E27FC236}">
                <a16:creationId xmlns:a16="http://schemas.microsoft.com/office/drawing/2014/main" id="{90E3D419-9098-284E-99E1-A52BEC5BCD4B}"/>
              </a:ext>
            </a:extLst>
          </p:cNvPr>
          <p:cNvSpPr>
            <a:spLocks noGrp="1"/>
          </p:cNvSpPr>
          <p:nvPr>
            <p:ph type="body" sz="quarter" idx="15" hasCustomPrompt="1"/>
          </p:nvPr>
        </p:nvSpPr>
        <p:spPr>
          <a:xfrm>
            <a:off x="3247200"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123" name="Text Placeholder 9">
            <a:extLst>
              <a:ext uri="{FF2B5EF4-FFF2-40B4-BE49-F238E27FC236}">
                <a16:creationId xmlns:a16="http://schemas.microsoft.com/office/drawing/2014/main" id="{CF1E4747-8E3D-9A46-8D29-013319752D67}"/>
              </a:ext>
            </a:extLst>
          </p:cNvPr>
          <p:cNvSpPr>
            <a:spLocks noGrp="1"/>
          </p:cNvSpPr>
          <p:nvPr>
            <p:ph type="body" sz="quarter" idx="16" hasCustomPrompt="1"/>
          </p:nvPr>
        </p:nvSpPr>
        <p:spPr>
          <a:xfrm>
            <a:off x="6134400"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124" name="Text Placeholder 9">
            <a:extLst>
              <a:ext uri="{FF2B5EF4-FFF2-40B4-BE49-F238E27FC236}">
                <a16:creationId xmlns:a16="http://schemas.microsoft.com/office/drawing/2014/main" id="{FF5DBCF7-D82D-7D40-945C-0C7000B2AFBF}"/>
              </a:ext>
            </a:extLst>
          </p:cNvPr>
          <p:cNvSpPr>
            <a:spLocks noGrp="1"/>
          </p:cNvSpPr>
          <p:nvPr>
            <p:ph type="body" sz="quarter" idx="17" hasCustomPrompt="1"/>
          </p:nvPr>
        </p:nvSpPr>
        <p:spPr>
          <a:xfrm>
            <a:off x="6134400"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125" name="Text Placeholder 9">
            <a:extLst>
              <a:ext uri="{FF2B5EF4-FFF2-40B4-BE49-F238E27FC236}">
                <a16:creationId xmlns:a16="http://schemas.microsoft.com/office/drawing/2014/main" id="{45C289BF-8449-2646-99A0-60E3EAC6E2AA}"/>
              </a:ext>
            </a:extLst>
          </p:cNvPr>
          <p:cNvSpPr>
            <a:spLocks noGrp="1"/>
          </p:cNvSpPr>
          <p:nvPr>
            <p:ph type="body" sz="quarter" idx="18" hasCustomPrompt="1"/>
          </p:nvPr>
        </p:nvSpPr>
        <p:spPr>
          <a:xfrm>
            <a:off x="9021600"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126" name="Text Placeholder 9">
            <a:extLst>
              <a:ext uri="{FF2B5EF4-FFF2-40B4-BE49-F238E27FC236}">
                <a16:creationId xmlns:a16="http://schemas.microsoft.com/office/drawing/2014/main" id="{D9BFB04D-F4B5-C84F-831B-70B7AF74C203}"/>
              </a:ext>
            </a:extLst>
          </p:cNvPr>
          <p:cNvSpPr>
            <a:spLocks noGrp="1"/>
          </p:cNvSpPr>
          <p:nvPr>
            <p:ph type="body" sz="quarter" idx="19" hasCustomPrompt="1"/>
          </p:nvPr>
        </p:nvSpPr>
        <p:spPr>
          <a:xfrm>
            <a:off x="9021600"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127" name="Text Placeholder 5">
            <a:extLst>
              <a:ext uri="{FF2B5EF4-FFF2-40B4-BE49-F238E27FC236}">
                <a16:creationId xmlns:a16="http://schemas.microsoft.com/office/drawing/2014/main" id="{FA74ABBD-1011-6746-A149-88F9FC2B21E7}"/>
              </a:ext>
            </a:extLst>
          </p:cNvPr>
          <p:cNvSpPr>
            <a:spLocks noGrp="1"/>
          </p:cNvSpPr>
          <p:nvPr>
            <p:ph type="body" sz="quarter" idx="20" hasCustomPrompt="1"/>
          </p:nvPr>
        </p:nvSpPr>
        <p:spPr>
          <a:xfrm>
            <a:off x="360000" y="3790800"/>
            <a:ext cx="11448000" cy="356400"/>
          </a:xfrm>
        </p:spPr>
        <p:txBody>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lang="en-US" sz="1600" b="1" smtClean="0">
                <a:solidFill>
                  <a:schemeClr val="tx2">
                    <a:lumMod val="60000"/>
                    <a:lumOff val="40000"/>
                  </a:schemeClr>
                </a:solidFill>
              </a:defRPr>
            </a:lvl1pPr>
          </a:lstStyle>
          <a:p>
            <a:pPr marL="0" marR="0" lvl="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a:pPr>
            <a:r>
              <a:rPr lang="en-US" sz="1600" dirty="0">
                <a:solidFill>
                  <a:schemeClr val="tx2">
                    <a:lumMod val="60000"/>
                    <a:lumOff val="40000"/>
                  </a:schemeClr>
                </a:solidFill>
                <a:latin typeface="+mj-lt"/>
              </a:rPr>
              <a:t>Lorem Ipsum is simply dummy text</a:t>
            </a:r>
          </a:p>
        </p:txBody>
      </p:sp>
      <p:sp>
        <p:nvSpPr>
          <p:cNvPr id="128" name="Rectangle 127">
            <a:extLst>
              <a:ext uri="{FF2B5EF4-FFF2-40B4-BE49-F238E27FC236}">
                <a16:creationId xmlns:a16="http://schemas.microsoft.com/office/drawing/2014/main" id="{19629FED-3342-5740-A917-A6E5EE2A4C75}"/>
              </a:ext>
            </a:extLst>
          </p:cNvPr>
          <p:cNvSpPr/>
          <p:nvPr userDrawn="1"/>
        </p:nvSpPr>
        <p:spPr>
          <a:xfrm>
            <a:off x="360000"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dirty="0"/>
          </a:p>
        </p:txBody>
      </p:sp>
      <p:sp>
        <p:nvSpPr>
          <p:cNvPr id="129" name="Rectangle 128">
            <a:extLst>
              <a:ext uri="{FF2B5EF4-FFF2-40B4-BE49-F238E27FC236}">
                <a16:creationId xmlns:a16="http://schemas.microsoft.com/office/drawing/2014/main" id="{AB40773B-2442-5E44-8066-2202815A3657}"/>
              </a:ext>
            </a:extLst>
          </p:cNvPr>
          <p:cNvSpPr/>
          <p:nvPr userDrawn="1"/>
        </p:nvSpPr>
        <p:spPr>
          <a:xfrm>
            <a:off x="2669149"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30" name="Rectangle 129">
            <a:extLst>
              <a:ext uri="{FF2B5EF4-FFF2-40B4-BE49-F238E27FC236}">
                <a16:creationId xmlns:a16="http://schemas.microsoft.com/office/drawing/2014/main" id="{36B3E149-5829-604A-91C3-1F9F773CE625}"/>
              </a:ext>
            </a:extLst>
          </p:cNvPr>
          <p:cNvSpPr/>
          <p:nvPr userDrawn="1"/>
        </p:nvSpPr>
        <p:spPr>
          <a:xfrm>
            <a:off x="4978298"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31" name="Rectangle 130">
            <a:extLst>
              <a:ext uri="{FF2B5EF4-FFF2-40B4-BE49-F238E27FC236}">
                <a16:creationId xmlns:a16="http://schemas.microsoft.com/office/drawing/2014/main" id="{061CB1E9-E4F1-D240-B5C4-DF94FB4B1565}"/>
              </a:ext>
            </a:extLst>
          </p:cNvPr>
          <p:cNvSpPr/>
          <p:nvPr userDrawn="1"/>
        </p:nvSpPr>
        <p:spPr>
          <a:xfrm>
            <a:off x="7287447"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32" name="Rectangle 131">
            <a:extLst>
              <a:ext uri="{FF2B5EF4-FFF2-40B4-BE49-F238E27FC236}">
                <a16:creationId xmlns:a16="http://schemas.microsoft.com/office/drawing/2014/main" id="{9F002C2F-9AA0-944B-98E7-30BD83CD60E4}"/>
              </a:ext>
            </a:extLst>
          </p:cNvPr>
          <p:cNvSpPr/>
          <p:nvPr userDrawn="1"/>
        </p:nvSpPr>
        <p:spPr>
          <a:xfrm>
            <a:off x="9596596"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2" name="Text Placeholder 11">
            <a:extLst>
              <a:ext uri="{FF2B5EF4-FFF2-40B4-BE49-F238E27FC236}">
                <a16:creationId xmlns:a16="http://schemas.microsoft.com/office/drawing/2014/main" id="{12C2D8C1-3D58-F740-B3C7-5F789F89A037}"/>
              </a:ext>
            </a:extLst>
          </p:cNvPr>
          <p:cNvSpPr>
            <a:spLocks noGrp="1"/>
          </p:cNvSpPr>
          <p:nvPr>
            <p:ph type="body" sz="quarter" idx="21" hasCustomPrompt="1"/>
          </p:nvPr>
        </p:nvSpPr>
        <p:spPr>
          <a:xfrm>
            <a:off x="360363"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3" name="Text Placeholder 11">
            <a:extLst>
              <a:ext uri="{FF2B5EF4-FFF2-40B4-BE49-F238E27FC236}">
                <a16:creationId xmlns:a16="http://schemas.microsoft.com/office/drawing/2014/main" id="{C46AE0DB-5B19-E243-A9D6-059FA1700802}"/>
              </a:ext>
            </a:extLst>
          </p:cNvPr>
          <p:cNvSpPr>
            <a:spLocks noGrp="1"/>
          </p:cNvSpPr>
          <p:nvPr>
            <p:ph type="body" sz="quarter" idx="22" hasCustomPrompt="1"/>
          </p:nvPr>
        </p:nvSpPr>
        <p:spPr>
          <a:xfrm>
            <a:off x="2669149"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5" name="Text Placeholder 11">
            <a:extLst>
              <a:ext uri="{FF2B5EF4-FFF2-40B4-BE49-F238E27FC236}">
                <a16:creationId xmlns:a16="http://schemas.microsoft.com/office/drawing/2014/main" id="{8EC69248-A315-3B40-AAE8-8F0FCF68F1E8}"/>
              </a:ext>
            </a:extLst>
          </p:cNvPr>
          <p:cNvSpPr>
            <a:spLocks noGrp="1"/>
          </p:cNvSpPr>
          <p:nvPr>
            <p:ph type="body" sz="quarter" idx="23" hasCustomPrompt="1"/>
          </p:nvPr>
        </p:nvSpPr>
        <p:spPr>
          <a:xfrm>
            <a:off x="4978298"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6" name="Text Placeholder 11">
            <a:extLst>
              <a:ext uri="{FF2B5EF4-FFF2-40B4-BE49-F238E27FC236}">
                <a16:creationId xmlns:a16="http://schemas.microsoft.com/office/drawing/2014/main" id="{DF5A8BD2-7DED-BB4F-B872-03977AA24E7E}"/>
              </a:ext>
            </a:extLst>
          </p:cNvPr>
          <p:cNvSpPr>
            <a:spLocks noGrp="1"/>
          </p:cNvSpPr>
          <p:nvPr>
            <p:ph type="body" sz="quarter" idx="24" hasCustomPrompt="1"/>
          </p:nvPr>
        </p:nvSpPr>
        <p:spPr>
          <a:xfrm>
            <a:off x="7287447"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7" name="Text Placeholder 11">
            <a:extLst>
              <a:ext uri="{FF2B5EF4-FFF2-40B4-BE49-F238E27FC236}">
                <a16:creationId xmlns:a16="http://schemas.microsoft.com/office/drawing/2014/main" id="{875E4E58-C95C-C346-8192-7A7A178D9CF7}"/>
              </a:ext>
            </a:extLst>
          </p:cNvPr>
          <p:cNvSpPr>
            <a:spLocks noGrp="1"/>
          </p:cNvSpPr>
          <p:nvPr>
            <p:ph type="body" sz="quarter" idx="25" hasCustomPrompt="1"/>
          </p:nvPr>
        </p:nvSpPr>
        <p:spPr>
          <a:xfrm>
            <a:off x="9596596"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4" name="Title 3">
            <a:extLst>
              <a:ext uri="{FF2B5EF4-FFF2-40B4-BE49-F238E27FC236}">
                <a16:creationId xmlns:a16="http://schemas.microsoft.com/office/drawing/2014/main" id="{D74DDEAE-A287-8F4B-AEBE-7309AADB90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202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guide id="2" pos="347">
          <p15:clr>
            <a:srgbClr val="FBAE40"/>
          </p15:clr>
        </p15:guide>
        <p15:guide id="3" orient="horz">
          <p15:clr>
            <a:srgbClr val="FBAE40"/>
          </p15:clr>
        </p15:guide>
        <p15:guide id="4" pos="2184">
          <p15:clr>
            <a:srgbClr val="FBAE40"/>
          </p15:clr>
        </p15:guide>
        <p15:guide id="5" pos="3999">
          <p15:clr>
            <a:srgbClr val="FBAE40"/>
          </p15:clr>
        </p15:guide>
        <p15:guide id="6" pos="5850">
          <p15:clr>
            <a:srgbClr val="FBAE40"/>
          </p15:clr>
        </p15:guide>
        <p15:guide id="7" orient="horz" pos="15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3 Columns with Icons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72800"/>
            <a:ext cx="3704400" cy="2973600"/>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6" name="Text Placeholder 4">
            <a:extLst>
              <a:ext uri="{FF2B5EF4-FFF2-40B4-BE49-F238E27FC236}">
                <a16:creationId xmlns:a16="http://schemas.microsoft.com/office/drawing/2014/main" id="{F5F23DA4-4D19-B744-B1EB-91AECBD4698C}"/>
              </a:ext>
            </a:extLst>
          </p:cNvPr>
          <p:cNvSpPr>
            <a:spLocks noGrp="1"/>
          </p:cNvSpPr>
          <p:nvPr>
            <p:ph type="body" sz="quarter" idx="12" hasCustomPrompt="1"/>
          </p:nvPr>
        </p:nvSpPr>
        <p:spPr>
          <a:xfrm>
            <a:off x="4248000" y="1073150"/>
            <a:ext cx="3704400" cy="2973600"/>
          </a:xfrm>
          <a:solidFill>
            <a:schemeClr val="tx2">
              <a:lumMod val="60000"/>
              <a:lumOff val="40000"/>
              <a:alpha val="20000"/>
            </a:schemeClr>
          </a:solidFill>
        </p:spPr>
        <p:txBody>
          <a:bodyPr vert="horz" lIns="180000" tIns="180000" rIns="180000" bIns="180000" rtlCol="0" anchor="b" anchorCtr="0">
            <a:normAutofit/>
          </a:bodyPr>
          <a:lstStyle>
            <a:lvl1pPr marL="0" indent="0">
              <a:buNone/>
              <a:defRPr lang="en-US" sz="2000" b="1" i="0" dirty="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8139600" y="1073150"/>
            <a:ext cx="3704400" cy="2973600"/>
          </a:xfrm>
          <a:solidFill>
            <a:schemeClr val="tx2">
              <a:lumMod val="60000"/>
              <a:lumOff val="40000"/>
              <a:alpha val="20000"/>
            </a:schemeClr>
          </a:solidFill>
        </p:spPr>
        <p:txBody>
          <a:bodyPr vert="horz" lIns="180000" tIns="180000" rIns="180000" bIns="180000" rtlCol="0" anchor="b" anchorCtr="0">
            <a:normAutofit/>
          </a:bodyPr>
          <a:lstStyle>
            <a:lvl1pPr marL="0" indent="0">
              <a:buNone/>
              <a:defRPr lang="en-US" sz="2000" b="1" i="0" dirty="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14" name="Picture Placeholder 4">
            <a:extLst>
              <a:ext uri="{FF2B5EF4-FFF2-40B4-BE49-F238E27FC236}">
                <a16:creationId xmlns:a16="http://schemas.microsoft.com/office/drawing/2014/main" id="{205F40F0-98A0-5E4D-A823-7655379848E1}"/>
              </a:ext>
            </a:extLst>
          </p:cNvPr>
          <p:cNvSpPr>
            <a:spLocks noGrp="1" noChangeAspect="1"/>
          </p:cNvSpPr>
          <p:nvPr>
            <p:ph type="pic" sz="quarter" idx="19" hasCustomPrompt="1"/>
          </p:nvPr>
        </p:nvSpPr>
        <p:spPr>
          <a:xfrm>
            <a:off x="5184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5" name="Picture Placeholder 4">
            <a:extLst>
              <a:ext uri="{FF2B5EF4-FFF2-40B4-BE49-F238E27FC236}">
                <a16:creationId xmlns:a16="http://schemas.microsoft.com/office/drawing/2014/main" id="{B4D149CC-9B47-F244-9FB2-B6EC14B2BBE3}"/>
              </a:ext>
            </a:extLst>
          </p:cNvPr>
          <p:cNvSpPr>
            <a:spLocks noGrp="1" noChangeAspect="1"/>
          </p:cNvSpPr>
          <p:nvPr>
            <p:ph type="pic" sz="quarter" idx="20" hasCustomPrompt="1"/>
          </p:nvPr>
        </p:nvSpPr>
        <p:spPr>
          <a:xfrm>
            <a:off x="44196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6" name="Picture Placeholder 4">
            <a:extLst>
              <a:ext uri="{FF2B5EF4-FFF2-40B4-BE49-F238E27FC236}">
                <a16:creationId xmlns:a16="http://schemas.microsoft.com/office/drawing/2014/main" id="{D11F383A-55BC-3843-8C8C-94A54DC29F5C}"/>
              </a:ext>
            </a:extLst>
          </p:cNvPr>
          <p:cNvSpPr>
            <a:spLocks noGrp="1" noChangeAspect="1"/>
          </p:cNvSpPr>
          <p:nvPr>
            <p:ph type="pic" sz="quarter" idx="21" hasCustomPrompt="1"/>
          </p:nvPr>
        </p:nvSpPr>
        <p:spPr>
          <a:xfrm>
            <a:off x="83058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7" name="Content Placeholder 16">
            <a:extLst>
              <a:ext uri="{FF2B5EF4-FFF2-40B4-BE49-F238E27FC236}">
                <a16:creationId xmlns:a16="http://schemas.microsoft.com/office/drawing/2014/main" id="{38475327-144D-4C42-90E2-5E46AA104B86}"/>
              </a:ext>
            </a:extLst>
          </p:cNvPr>
          <p:cNvSpPr>
            <a:spLocks noGrp="1"/>
          </p:cNvSpPr>
          <p:nvPr>
            <p:ph sz="quarter" idx="22" hasCustomPrompt="1"/>
          </p:nvPr>
        </p:nvSpPr>
        <p:spPr>
          <a:xfrm>
            <a:off x="352425" y="4043680"/>
            <a:ext cx="3704400" cy="2265045"/>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18" name="Content Placeholder 16">
            <a:extLst>
              <a:ext uri="{FF2B5EF4-FFF2-40B4-BE49-F238E27FC236}">
                <a16:creationId xmlns:a16="http://schemas.microsoft.com/office/drawing/2014/main" id="{68832328-58AD-FB4A-B32F-BB3C3ED1D61B}"/>
              </a:ext>
            </a:extLst>
          </p:cNvPr>
          <p:cNvSpPr>
            <a:spLocks noGrp="1"/>
          </p:cNvSpPr>
          <p:nvPr>
            <p:ph sz="quarter" idx="23" hasCustomPrompt="1"/>
          </p:nvPr>
        </p:nvSpPr>
        <p:spPr>
          <a:xfrm>
            <a:off x="4248000" y="4043680"/>
            <a:ext cx="3704400" cy="2265045"/>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19" name="Content Placeholder 16">
            <a:extLst>
              <a:ext uri="{FF2B5EF4-FFF2-40B4-BE49-F238E27FC236}">
                <a16:creationId xmlns:a16="http://schemas.microsoft.com/office/drawing/2014/main" id="{DD6E88F2-220F-0747-A97D-129C606A84D4}"/>
              </a:ext>
            </a:extLst>
          </p:cNvPr>
          <p:cNvSpPr>
            <a:spLocks noGrp="1"/>
          </p:cNvSpPr>
          <p:nvPr>
            <p:ph sz="quarter" idx="24" hasCustomPrompt="1"/>
          </p:nvPr>
        </p:nvSpPr>
        <p:spPr>
          <a:xfrm>
            <a:off x="8139600" y="4043680"/>
            <a:ext cx="3704400" cy="2265045"/>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4" name="Title 3">
            <a:extLst>
              <a:ext uri="{FF2B5EF4-FFF2-40B4-BE49-F238E27FC236}">
                <a16:creationId xmlns:a16="http://schemas.microsoft.com/office/drawing/2014/main" id="{0089EF6F-2E01-2C47-ACE9-731CDB536A6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505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4 Column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1" name="Text Placeholder 4">
            <a:extLst>
              <a:ext uri="{FF2B5EF4-FFF2-40B4-BE49-F238E27FC236}">
                <a16:creationId xmlns:a16="http://schemas.microsoft.com/office/drawing/2014/main" id="{582712A1-BA48-D248-92B3-1C204F8C708A}"/>
              </a:ext>
            </a:extLst>
          </p:cNvPr>
          <p:cNvSpPr>
            <a:spLocks noGrp="1"/>
          </p:cNvSpPr>
          <p:nvPr>
            <p:ph type="body" sz="quarter" idx="12" hasCustomPrompt="1"/>
          </p:nvPr>
        </p:nvSpPr>
        <p:spPr>
          <a:xfrm>
            <a:off x="32724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2" name="Text Placeholder 4">
            <a:extLst>
              <a:ext uri="{FF2B5EF4-FFF2-40B4-BE49-F238E27FC236}">
                <a16:creationId xmlns:a16="http://schemas.microsoft.com/office/drawing/2014/main" id="{EC58281E-D983-0A4C-A59B-3618E7C00AF6}"/>
              </a:ext>
            </a:extLst>
          </p:cNvPr>
          <p:cNvSpPr>
            <a:spLocks noGrp="1"/>
          </p:cNvSpPr>
          <p:nvPr>
            <p:ph type="body" sz="quarter" idx="13" hasCustomPrompt="1"/>
          </p:nvPr>
        </p:nvSpPr>
        <p:spPr>
          <a:xfrm>
            <a:off x="61848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3" name="Text Placeholder 4">
            <a:extLst>
              <a:ext uri="{FF2B5EF4-FFF2-40B4-BE49-F238E27FC236}">
                <a16:creationId xmlns:a16="http://schemas.microsoft.com/office/drawing/2014/main" id="{927FDE60-62D3-8247-84CA-F8C9065D70FF}"/>
              </a:ext>
            </a:extLst>
          </p:cNvPr>
          <p:cNvSpPr>
            <a:spLocks noGrp="1"/>
          </p:cNvSpPr>
          <p:nvPr>
            <p:ph type="body" sz="quarter" idx="14" hasCustomPrompt="1"/>
          </p:nvPr>
        </p:nvSpPr>
        <p:spPr>
          <a:xfrm>
            <a:off x="90936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4" name="Title 3">
            <a:extLst>
              <a:ext uri="{FF2B5EF4-FFF2-40B4-BE49-F238E27FC236}">
                <a16:creationId xmlns:a16="http://schemas.microsoft.com/office/drawing/2014/main" id="{69068ADB-5D84-244A-99A5-3CC21A3D5E9F}"/>
              </a:ext>
            </a:extLst>
          </p:cNvPr>
          <p:cNvSpPr>
            <a:spLocks noGrp="1"/>
          </p:cNvSpPr>
          <p:nvPr>
            <p:ph type="title"/>
          </p:nvPr>
        </p:nvSpPr>
        <p:spPr/>
        <p:txBody>
          <a:bodyPr/>
          <a:lstStyle/>
          <a:p>
            <a:r>
              <a:rPr lang="en-US"/>
              <a:t>Click to edit Master title style</a:t>
            </a:r>
          </a:p>
        </p:txBody>
      </p:sp>
      <p:sp>
        <p:nvSpPr>
          <p:cNvPr id="15" name="Text Placeholder 4">
            <a:extLst>
              <a:ext uri="{FF2B5EF4-FFF2-40B4-BE49-F238E27FC236}">
                <a16:creationId xmlns:a16="http://schemas.microsoft.com/office/drawing/2014/main" id="{00F60AFF-D02A-435C-98BC-A9D9E1A1ED76}"/>
              </a:ext>
            </a:extLst>
          </p:cNvPr>
          <p:cNvSpPr>
            <a:spLocks noGrp="1"/>
          </p:cNvSpPr>
          <p:nvPr>
            <p:ph type="body" sz="quarter" idx="19" hasCustomPrompt="1"/>
          </p:nvPr>
        </p:nvSpPr>
        <p:spPr>
          <a:xfrm>
            <a:off x="360000" y="1072800"/>
            <a:ext cx="2736000" cy="2316875"/>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16" name="Picture Placeholder 4">
            <a:extLst>
              <a:ext uri="{FF2B5EF4-FFF2-40B4-BE49-F238E27FC236}">
                <a16:creationId xmlns:a16="http://schemas.microsoft.com/office/drawing/2014/main" id="{770E26EC-2634-4F53-B1C8-B7F0CC82C29C}"/>
              </a:ext>
            </a:extLst>
          </p:cNvPr>
          <p:cNvSpPr>
            <a:spLocks noGrp="1" noChangeAspect="1"/>
          </p:cNvSpPr>
          <p:nvPr>
            <p:ph type="pic" sz="quarter" idx="20" hasCustomPrompt="1"/>
          </p:nvPr>
        </p:nvSpPr>
        <p:spPr>
          <a:xfrm>
            <a:off x="548532" y="1270000"/>
            <a:ext cx="1113637" cy="1113637"/>
          </a:xfrm>
        </p:spPr>
        <p:txBody>
          <a:bodyPr anchor="ctr" anchorCtr="0"/>
          <a:lstStyle>
            <a:lvl1pPr>
              <a:defRPr>
                <a:solidFill>
                  <a:schemeClr val="tx1"/>
                </a:solidFill>
              </a:defRPr>
            </a:lvl1pPr>
          </a:lstStyle>
          <a:p>
            <a:r>
              <a:rPr lang="en-US" dirty="0"/>
              <a:t>Icon</a:t>
            </a:r>
            <a:endParaRPr lang="ar-SA" dirty="0"/>
          </a:p>
        </p:txBody>
      </p:sp>
      <p:sp>
        <p:nvSpPr>
          <p:cNvPr id="21" name="Text Placeholder 4">
            <a:extLst>
              <a:ext uri="{FF2B5EF4-FFF2-40B4-BE49-F238E27FC236}">
                <a16:creationId xmlns:a16="http://schemas.microsoft.com/office/drawing/2014/main" id="{3144C4E2-E920-4B3A-B365-C67C31EFB82A}"/>
              </a:ext>
            </a:extLst>
          </p:cNvPr>
          <p:cNvSpPr>
            <a:spLocks noGrp="1"/>
          </p:cNvSpPr>
          <p:nvPr>
            <p:ph type="body" sz="quarter" idx="21" hasCustomPrompt="1"/>
          </p:nvPr>
        </p:nvSpPr>
        <p:spPr>
          <a:xfrm>
            <a:off x="3272400" y="1072800"/>
            <a:ext cx="2736000" cy="2316875"/>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23" name="Picture Placeholder 4">
            <a:extLst>
              <a:ext uri="{FF2B5EF4-FFF2-40B4-BE49-F238E27FC236}">
                <a16:creationId xmlns:a16="http://schemas.microsoft.com/office/drawing/2014/main" id="{B093F300-9165-4076-8F1D-ECC0D9057AB0}"/>
              </a:ext>
            </a:extLst>
          </p:cNvPr>
          <p:cNvSpPr>
            <a:spLocks noGrp="1" noChangeAspect="1"/>
          </p:cNvSpPr>
          <p:nvPr>
            <p:ph type="pic" sz="quarter" idx="22" hasCustomPrompt="1"/>
          </p:nvPr>
        </p:nvSpPr>
        <p:spPr>
          <a:xfrm>
            <a:off x="3444132" y="1270000"/>
            <a:ext cx="1113637" cy="1113637"/>
          </a:xfrm>
        </p:spPr>
        <p:txBody>
          <a:bodyPr anchor="ctr" anchorCtr="0"/>
          <a:lstStyle>
            <a:lvl1pPr>
              <a:defRPr>
                <a:solidFill>
                  <a:schemeClr val="tx1"/>
                </a:solidFill>
              </a:defRPr>
            </a:lvl1pPr>
          </a:lstStyle>
          <a:p>
            <a:r>
              <a:rPr lang="en-US" dirty="0"/>
              <a:t>Icon</a:t>
            </a:r>
            <a:endParaRPr lang="ar-SA" dirty="0"/>
          </a:p>
        </p:txBody>
      </p:sp>
      <p:sp>
        <p:nvSpPr>
          <p:cNvPr id="25" name="Text Placeholder 4">
            <a:extLst>
              <a:ext uri="{FF2B5EF4-FFF2-40B4-BE49-F238E27FC236}">
                <a16:creationId xmlns:a16="http://schemas.microsoft.com/office/drawing/2014/main" id="{8944395B-6920-4D39-A23F-7348BD5E3634}"/>
              </a:ext>
            </a:extLst>
          </p:cNvPr>
          <p:cNvSpPr>
            <a:spLocks noGrp="1"/>
          </p:cNvSpPr>
          <p:nvPr>
            <p:ph type="body" sz="quarter" idx="23" hasCustomPrompt="1"/>
          </p:nvPr>
        </p:nvSpPr>
        <p:spPr>
          <a:xfrm>
            <a:off x="6184800" y="1072800"/>
            <a:ext cx="2736000" cy="2316875"/>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26" name="Picture Placeholder 4">
            <a:extLst>
              <a:ext uri="{FF2B5EF4-FFF2-40B4-BE49-F238E27FC236}">
                <a16:creationId xmlns:a16="http://schemas.microsoft.com/office/drawing/2014/main" id="{ECB27249-12B3-4A7B-ACDC-1D2AC27169E1}"/>
              </a:ext>
            </a:extLst>
          </p:cNvPr>
          <p:cNvSpPr>
            <a:spLocks noGrp="1" noChangeAspect="1"/>
          </p:cNvSpPr>
          <p:nvPr>
            <p:ph type="pic" sz="quarter" idx="24" hasCustomPrompt="1"/>
          </p:nvPr>
        </p:nvSpPr>
        <p:spPr>
          <a:xfrm>
            <a:off x="6365132" y="1270000"/>
            <a:ext cx="1113637" cy="1113637"/>
          </a:xfrm>
        </p:spPr>
        <p:txBody>
          <a:bodyPr anchor="ctr" anchorCtr="0"/>
          <a:lstStyle>
            <a:lvl1pPr>
              <a:defRPr>
                <a:solidFill>
                  <a:schemeClr val="tx1"/>
                </a:solidFill>
              </a:defRPr>
            </a:lvl1pPr>
          </a:lstStyle>
          <a:p>
            <a:r>
              <a:rPr lang="en-US" dirty="0"/>
              <a:t>Icon</a:t>
            </a:r>
            <a:endParaRPr lang="ar-SA" dirty="0"/>
          </a:p>
        </p:txBody>
      </p:sp>
      <p:sp>
        <p:nvSpPr>
          <p:cNvPr id="27" name="Text Placeholder 4">
            <a:extLst>
              <a:ext uri="{FF2B5EF4-FFF2-40B4-BE49-F238E27FC236}">
                <a16:creationId xmlns:a16="http://schemas.microsoft.com/office/drawing/2014/main" id="{16685CDD-2E31-4525-BD75-5BBD63BC306F}"/>
              </a:ext>
            </a:extLst>
          </p:cNvPr>
          <p:cNvSpPr>
            <a:spLocks noGrp="1"/>
          </p:cNvSpPr>
          <p:nvPr>
            <p:ph type="body" sz="quarter" idx="25" hasCustomPrompt="1"/>
          </p:nvPr>
        </p:nvSpPr>
        <p:spPr>
          <a:xfrm>
            <a:off x="9093100" y="1072800"/>
            <a:ext cx="2736000" cy="2316875"/>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28" name="Picture Placeholder 4">
            <a:extLst>
              <a:ext uri="{FF2B5EF4-FFF2-40B4-BE49-F238E27FC236}">
                <a16:creationId xmlns:a16="http://schemas.microsoft.com/office/drawing/2014/main" id="{F3752A5F-1A43-43B1-9B74-6A8B5953B35C}"/>
              </a:ext>
            </a:extLst>
          </p:cNvPr>
          <p:cNvSpPr>
            <a:spLocks noGrp="1" noChangeAspect="1"/>
          </p:cNvSpPr>
          <p:nvPr>
            <p:ph type="pic" sz="quarter" idx="26" hasCustomPrompt="1"/>
          </p:nvPr>
        </p:nvSpPr>
        <p:spPr>
          <a:xfrm>
            <a:off x="9273432" y="1270000"/>
            <a:ext cx="1113637" cy="1113637"/>
          </a:xfrm>
        </p:spPr>
        <p:txBody>
          <a:bodyPr anchor="ctr" anchorCtr="0"/>
          <a:lstStyle>
            <a:lvl1pPr>
              <a:defRPr>
                <a:solidFill>
                  <a:schemeClr val="tx1"/>
                </a:solidFill>
              </a:defRPr>
            </a:lvl1pPr>
          </a:lstStyle>
          <a:p>
            <a:r>
              <a:rPr lang="en-US" dirty="0"/>
              <a:t>Icon</a:t>
            </a:r>
            <a:endParaRPr lang="ar-SA" dirty="0"/>
          </a:p>
        </p:txBody>
      </p:sp>
    </p:spTree>
    <p:extLst>
      <p:ext uri="{BB962C8B-B14F-4D97-AF65-F5344CB8AC3E}">
        <p14:creationId xmlns:p14="http://schemas.microsoft.com/office/powerpoint/2010/main" val="356079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4 Column with Photo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C331CBB-A728-0B4C-AF8D-8EFE584D0892}"/>
              </a:ext>
            </a:extLst>
          </p:cNvPr>
          <p:cNvSpPr>
            <a:spLocks noGrp="1"/>
          </p:cNvSpPr>
          <p:nvPr>
            <p:ph type="pic" sz="quarter" idx="15"/>
          </p:nvPr>
        </p:nvSpPr>
        <p:spPr>
          <a:xfrm>
            <a:off x="360000" y="1073150"/>
            <a:ext cx="2736000" cy="2319338"/>
          </a:xfrm>
        </p:spPr>
        <p:txBody>
          <a:bodyPr/>
          <a:lstStyle/>
          <a:p>
            <a:r>
              <a:rPr lang="en-US" dirty="0"/>
              <a:t>Click icon to add picture</a:t>
            </a:r>
            <a:endParaRPr lang="ar-SA" dirty="0"/>
          </a:p>
        </p:txBody>
      </p:sp>
      <p:sp>
        <p:nvSpPr>
          <p:cNvPr id="18" name="Picture Placeholder 5">
            <a:extLst>
              <a:ext uri="{FF2B5EF4-FFF2-40B4-BE49-F238E27FC236}">
                <a16:creationId xmlns:a16="http://schemas.microsoft.com/office/drawing/2014/main" id="{532C754E-6952-4448-AFF5-38921539862B}"/>
              </a:ext>
            </a:extLst>
          </p:cNvPr>
          <p:cNvSpPr>
            <a:spLocks noGrp="1"/>
          </p:cNvSpPr>
          <p:nvPr>
            <p:ph type="pic" sz="quarter" idx="16"/>
          </p:nvPr>
        </p:nvSpPr>
        <p:spPr>
          <a:xfrm>
            <a:off x="3272400" y="1072800"/>
            <a:ext cx="2736000" cy="2319338"/>
          </a:xfrm>
        </p:spPr>
        <p:txBody>
          <a:bodyPr/>
          <a:lstStyle/>
          <a:p>
            <a:r>
              <a:rPr lang="en-US" dirty="0"/>
              <a:t>Click icon to add picture</a:t>
            </a:r>
            <a:endParaRPr lang="ar-SA" dirty="0"/>
          </a:p>
        </p:txBody>
      </p:sp>
      <p:sp>
        <p:nvSpPr>
          <p:cNvPr id="19" name="Picture Placeholder 5">
            <a:extLst>
              <a:ext uri="{FF2B5EF4-FFF2-40B4-BE49-F238E27FC236}">
                <a16:creationId xmlns:a16="http://schemas.microsoft.com/office/drawing/2014/main" id="{B22B0BA8-60E3-4845-A444-F63245CA0A09}"/>
              </a:ext>
            </a:extLst>
          </p:cNvPr>
          <p:cNvSpPr>
            <a:spLocks noGrp="1"/>
          </p:cNvSpPr>
          <p:nvPr>
            <p:ph type="pic" sz="quarter" idx="17"/>
          </p:nvPr>
        </p:nvSpPr>
        <p:spPr>
          <a:xfrm>
            <a:off x="6184800" y="1072800"/>
            <a:ext cx="2736000" cy="2319338"/>
          </a:xfrm>
        </p:spPr>
        <p:txBody>
          <a:bodyPr/>
          <a:lstStyle/>
          <a:p>
            <a:r>
              <a:rPr lang="en-US" dirty="0"/>
              <a:t>Click icon to add picture</a:t>
            </a:r>
            <a:endParaRPr lang="ar-SA" dirty="0"/>
          </a:p>
        </p:txBody>
      </p:sp>
      <p:sp>
        <p:nvSpPr>
          <p:cNvPr id="20" name="Picture Placeholder 5">
            <a:extLst>
              <a:ext uri="{FF2B5EF4-FFF2-40B4-BE49-F238E27FC236}">
                <a16:creationId xmlns:a16="http://schemas.microsoft.com/office/drawing/2014/main" id="{C36D606F-ACBA-8B4D-A4A1-D0D9DCB2320B}"/>
              </a:ext>
            </a:extLst>
          </p:cNvPr>
          <p:cNvSpPr>
            <a:spLocks noGrp="1"/>
          </p:cNvSpPr>
          <p:nvPr>
            <p:ph type="pic" sz="quarter" idx="18"/>
          </p:nvPr>
        </p:nvSpPr>
        <p:spPr>
          <a:xfrm>
            <a:off x="9093600" y="1072800"/>
            <a:ext cx="2736000" cy="2319338"/>
          </a:xfrm>
        </p:spPr>
        <p:txBody>
          <a:bodyPr/>
          <a:lstStyle/>
          <a:p>
            <a:r>
              <a:rPr lang="en-US" dirty="0"/>
              <a:t>Click icon to add picture</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1" name="Text Placeholder 4">
            <a:extLst>
              <a:ext uri="{FF2B5EF4-FFF2-40B4-BE49-F238E27FC236}">
                <a16:creationId xmlns:a16="http://schemas.microsoft.com/office/drawing/2014/main" id="{582712A1-BA48-D248-92B3-1C204F8C708A}"/>
              </a:ext>
            </a:extLst>
          </p:cNvPr>
          <p:cNvSpPr>
            <a:spLocks noGrp="1"/>
          </p:cNvSpPr>
          <p:nvPr>
            <p:ph type="body" sz="quarter" idx="12" hasCustomPrompt="1"/>
          </p:nvPr>
        </p:nvSpPr>
        <p:spPr>
          <a:xfrm>
            <a:off x="32724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2" name="Text Placeholder 4">
            <a:extLst>
              <a:ext uri="{FF2B5EF4-FFF2-40B4-BE49-F238E27FC236}">
                <a16:creationId xmlns:a16="http://schemas.microsoft.com/office/drawing/2014/main" id="{EC58281E-D983-0A4C-A59B-3618E7C00AF6}"/>
              </a:ext>
            </a:extLst>
          </p:cNvPr>
          <p:cNvSpPr>
            <a:spLocks noGrp="1"/>
          </p:cNvSpPr>
          <p:nvPr>
            <p:ph type="body" sz="quarter" idx="13" hasCustomPrompt="1"/>
          </p:nvPr>
        </p:nvSpPr>
        <p:spPr>
          <a:xfrm>
            <a:off x="61848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3" name="Text Placeholder 4">
            <a:extLst>
              <a:ext uri="{FF2B5EF4-FFF2-40B4-BE49-F238E27FC236}">
                <a16:creationId xmlns:a16="http://schemas.microsoft.com/office/drawing/2014/main" id="{927FDE60-62D3-8247-84CA-F8C9065D70FF}"/>
              </a:ext>
            </a:extLst>
          </p:cNvPr>
          <p:cNvSpPr>
            <a:spLocks noGrp="1"/>
          </p:cNvSpPr>
          <p:nvPr>
            <p:ph type="body" sz="quarter" idx="14" hasCustomPrompt="1"/>
          </p:nvPr>
        </p:nvSpPr>
        <p:spPr>
          <a:xfrm>
            <a:off x="90936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4" name="Title 3">
            <a:extLst>
              <a:ext uri="{FF2B5EF4-FFF2-40B4-BE49-F238E27FC236}">
                <a16:creationId xmlns:a16="http://schemas.microsoft.com/office/drawing/2014/main" id="{69068ADB-5D84-244A-99A5-3CC21A3D5E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778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 Column with Photo and Caption">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B4EDC37A-41B5-614C-AF68-D5D47F2A88C7}"/>
              </a:ext>
            </a:extLst>
          </p:cNvPr>
          <p:cNvSpPr>
            <a:spLocks noGrp="1"/>
          </p:cNvSpPr>
          <p:nvPr>
            <p:ph type="pic" sz="quarter" idx="21"/>
          </p:nvPr>
        </p:nvSpPr>
        <p:spPr>
          <a:xfrm>
            <a:off x="6076829" y="0"/>
            <a:ext cx="6115171" cy="6858000"/>
          </a:xfrm>
          <a:noFill/>
        </p:spPr>
        <p:txBody>
          <a:bodyPr/>
          <a:lstStyle/>
          <a:p>
            <a:r>
              <a:rPr lang="en-US" dirty="0"/>
              <a:t>Click icon to add picture</a:t>
            </a:r>
            <a:endParaRPr lang="ar-SA" dirty="0"/>
          </a:p>
        </p:txBody>
      </p:sp>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1" y="0"/>
            <a:ext cx="6098400" cy="6858000"/>
          </a:xfrm>
          <a:noFill/>
        </p:spPr>
        <p:txBody>
          <a:bodyPr/>
          <a:lstStyle/>
          <a:p>
            <a:r>
              <a:rPr lang="en-US" dirty="0"/>
              <a:t>Click icon to add picture</a:t>
            </a:r>
            <a:endParaRPr lang="ar-SA" dirty="0"/>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1"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16" name="Text Placeholder 5">
            <a:extLst>
              <a:ext uri="{FF2B5EF4-FFF2-40B4-BE49-F238E27FC236}">
                <a16:creationId xmlns:a16="http://schemas.microsoft.com/office/drawing/2014/main" id="{3E9B6557-6948-834A-BCCB-D4726CC1756A}"/>
              </a:ext>
            </a:extLst>
          </p:cNvPr>
          <p:cNvSpPr>
            <a:spLocks noGrp="1"/>
          </p:cNvSpPr>
          <p:nvPr>
            <p:ph type="body" sz="quarter" idx="22" hasCustomPrompt="1"/>
          </p:nvPr>
        </p:nvSpPr>
        <p:spPr>
          <a:xfrm>
            <a:off x="6093763"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20" name="Text Placeholder 12">
            <a:extLst>
              <a:ext uri="{FF2B5EF4-FFF2-40B4-BE49-F238E27FC236}">
                <a16:creationId xmlns:a16="http://schemas.microsoft.com/office/drawing/2014/main" id="{590F9B0F-1992-1640-9ACD-6C539910D802}"/>
              </a:ext>
            </a:extLst>
          </p:cNvPr>
          <p:cNvSpPr>
            <a:spLocks noGrp="1"/>
          </p:cNvSpPr>
          <p:nvPr>
            <p:ph type="body" sz="quarter" idx="23" hasCustomPrompt="1"/>
          </p:nvPr>
        </p:nvSpPr>
        <p:spPr>
          <a:xfrm>
            <a:off x="6093763"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Tree>
    <p:extLst>
      <p:ext uri="{BB962C8B-B14F-4D97-AF65-F5344CB8AC3E}">
        <p14:creationId xmlns:p14="http://schemas.microsoft.com/office/powerpoint/2010/main" val="563818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3 Column with Photo and Caption">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D8B557EA-0B79-4942-876B-68821DFBF817}"/>
              </a:ext>
            </a:extLst>
          </p:cNvPr>
          <p:cNvSpPr>
            <a:spLocks noGrp="1"/>
          </p:cNvSpPr>
          <p:nvPr>
            <p:ph type="pic" sz="quarter" idx="27"/>
          </p:nvPr>
        </p:nvSpPr>
        <p:spPr>
          <a:xfrm>
            <a:off x="8128800" y="0"/>
            <a:ext cx="4063200" cy="6858000"/>
          </a:xfrm>
          <a:noFill/>
        </p:spPr>
        <p:txBody>
          <a:bodyPr/>
          <a:lstStyle/>
          <a:p>
            <a:r>
              <a:rPr lang="en-US" dirty="0"/>
              <a:t>Click icon to add picture</a:t>
            </a:r>
            <a:endParaRPr lang="ar-SA" dirty="0"/>
          </a:p>
        </p:txBody>
      </p:sp>
      <p:sp>
        <p:nvSpPr>
          <p:cNvPr id="15" name="Picture Placeholder 4">
            <a:extLst>
              <a:ext uri="{FF2B5EF4-FFF2-40B4-BE49-F238E27FC236}">
                <a16:creationId xmlns:a16="http://schemas.microsoft.com/office/drawing/2014/main" id="{B4EDC37A-41B5-614C-AF68-D5D47F2A88C7}"/>
              </a:ext>
            </a:extLst>
          </p:cNvPr>
          <p:cNvSpPr>
            <a:spLocks noGrp="1"/>
          </p:cNvSpPr>
          <p:nvPr>
            <p:ph type="pic" sz="quarter" idx="21"/>
          </p:nvPr>
        </p:nvSpPr>
        <p:spPr>
          <a:xfrm>
            <a:off x="4064400" y="0"/>
            <a:ext cx="4068000" cy="6858000"/>
          </a:xfrm>
          <a:noFill/>
        </p:spPr>
        <p:txBody>
          <a:bodyPr/>
          <a:lstStyle/>
          <a:p>
            <a:r>
              <a:rPr lang="en-US" dirty="0"/>
              <a:t>Click icon to add picture</a:t>
            </a:r>
            <a:endParaRPr lang="ar-SA" dirty="0"/>
          </a:p>
        </p:txBody>
      </p:sp>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1" y="0"/>
            <a:ext cx="4068000" cy="6858000"/>
          </a:xfrm>
          <a:noFill/>
        </p:spPr>
        <p:txBody>
          <a:bodyPr/>
          <a:lstStyle/>
          <a:p>
            <a:r>
              <a:rPr lang="en-US" dirty="0"/>
              <a:t>Click icon to add picture</a:t>
            </a:r>
            <a:endParaRPr lang="ar-SA" dirty="0"/>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1"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16" name="Text Placeholder 5">
            <a:extLst>
              <a:ext uri="{FF2B5EF4-FFF2-40B4-BE49-F238E27FC236}">
                <a16:creationId xmlns:a16="http://schemas.microsoft.com/office/drawing/2014/main" id="{3E9B6557-6948-834A-BCCB-D4726CC1756A}"/>
              </a:ext>
            </a:extLst>
          </p:cNvPr>
          <p:cNvSpPr>
            <a:spLocks noGrp="1"/>
          </p:cNvSpPr>
          <p:nvPr>
            <p:ph type="body" sz="quarter" idx="22" hasCustomPrompt="1"/>
          </p:nvPr>
        </p:nvSpPr>
        <p:spPr>
          <a:xfrm>
            <a:off x="406440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20" name="Text Placeholder 12">
            <a:extLst>
              <a:ext uri="{FF2B5EF4-FFF2-40B4-BE49-F238E27FC236}">
                <a16:creationId xmlns:a16="http://schemas.microsoft.com/office/drawing/2014/main" id="{590F9B0F-1992-1640-9ACD-6C539910D802}"/>
              </a:ext>
            </a:extLst>
          </p:cNvPr>
          <p:cNvSpPr>
            <a:spLocks noGrp="1"/>
          </p:cNvSpPr>
          <p:nvPr>
            <p:ph type="body" sz="quarter" idx="23" hasCustomPrompt="1"/>
          </p:nvPr>
        </p:nvSpPr>
        <p:spPr>
          <a:xfrm>
            <a:off x="4064400"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9" name="Text Placeholder 5">
            <a:extLst>
              <a:ext uri="{FF2B5EF4-FFF2-40B4-BE49-F238E27FC236}">
                <a16:creationId xmlns:a16="http://schemas.microsoft.com/office/drawing/2014/main" id="{B6090B47-AF42-8F45-A644-605A8E035840}"/>
              </a:ext>
            </a:extLst>
          </p:cNvPr>
          <p:cNvSpPr>
            <a:spLocks noGrp="1"/>
          </p:cNvSpPr>
          <p:nvPr>
            <p:ph type="body" sz="quarter" idx="25" hasCustomPrompt="1"/>
          </p:nvPr>
        </p:nvSpPr>
        <p:spPr>
          <a:xfrm>
            <a:off x="812880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10" name="Text Placeholder 12">
            <a:extLst>
              <a:ext uri="{FF2B5EF4-FFF2-40B4-BE49-F238E27FC236}">
                <a16:creationId xmlns:a16="http://schemas.microsoft.com/office/drawing/2014/main" id="{9DE67643-6932-5943-9DAD-C9C2F05433EB}"/>
              </a:ext>
            </a:extLst>
          </p:cNvPr>
          <p:cNvSpPr>
            <a:spLocks noGrp="1"/>
          </p:cNvSpPr>
          <p:nvPr>
            <p:ph type="body" sz="quarter" idx="26" hasCustomPrompt="1"/>
          </p:nvPr>
        </p:nvSpPr>
        <p:spPr>
          <a:xfrm>
            <a:off x="8128800"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2" name="Slide Number Placeholder 1">
            <a:extLst>
              <a:ext uri="{FF2B5EF4-FFF2-40B4-BE49-F238E27FC236}">
                <a16:creationId xmlns:a16="http://schemas.microsoft.com/office/drawing/2014/main" id="{FE1A0309-D42D-3A46-86C2-44C69252D08D}"/>
              </a:ext>
            </a:extLst>
          </p:cNvPr>
          <p:cNvSpPr>
            <a:spLocks noGrp="1"/>
          </p:cNvSpPr>
          <p:nvPr>
            <p:ph type="sldNum" sz="quarter" idx="28"/>
          </p:nvPr>
        </p:nvSpPr>
        <p:spPr/>
        <p:txBody>
          <a:bodyPr/>
          <a:lstStyle/>
          <a:p>
            <a:fld id="{9A0F7689-66CB-EC4F-9B5C-9C3D3ED1F24F}" type="slidenum">
              <a:rPr lang="en-US" smtClean="0"/>
              <a:pPr/>
              <a:t>‹#›</a:t>
            </a:fld>
            <a:endParaRPr lang="en-US" dirty="0"/>
          </a:p>
        </p:txBody>
      </p:sp>
    </p:spTree>
    <p:extLst>
      <p:ext uri="{BB962C8B-B14F-4D97-AF65-F5344CB8AC3E}">
        <p14:creationId xmlns:p14="http://schemas.microsoft.com/office/powerpoint/2010/main" val="639999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6 Boxes with Photos">
    <p:spTree>
      <p:nvGrpSpPr>
        <p:cNvPr id="1" name=""/>
        <p:cNvGrpSpPr/>
        <p:nvPr/>
      </p:nvGrpSpPr>
      <p:grpSpPr>
        <a:xfrm>
          <a:off x="0" y="0"/>
          <a:ext cx="0" cy="0"/>
          <a:chOff x="0" y="0"/>
          <a:chExt cx="0" cy="0"/>
        </a:xfrm>
      </p:grpSpPr>
      <p:sp>
        <p:nvSpPr>
          <p:cNvPr id="16" name="Picture Placeholder 5">
            <a:extLst>
              <a:ext uri="{FF2B5EF4-FFF2-40B4-BE49-F238E27FC236}">
                <a16:creationId xmlns:a16="http://schemas.microsoft.com/office/drawing/2014/main" id="{6B7AD24E-4B75-524B-B14A-E19560872B8F}"/>
              </a:ext>
            </a:extLst>
          </p:cNvPr>
          <p:cNvSpPr>
            <a:spLocks noGrp="1"/>
          </p:cNvSpPr>
          <p:nvPr>
            <p:ph type="pic" sz="quarter" idx="18"/>
          </p:nvPr>
        </p:nvSpPr>
        <p:spPr>
          <a:xfrm>
            <a:off x="0" y="3412067"/>
            <a:ext cx="4050000" cy="3430800"/>
          </a:xfrm>
        </p:spPr>
        <p:txBody>
          <a:bodyPr/>
          <a:lstStyle/>
          <a:p>
            <a:r>
              <a:rPr lang="en-US" dirty="0"/>
              <a:t>Click icon to add picture</a:t>
            </a:r>
            <a:endParaRPr lang="ar-SA" dirty="0"/>
          </a:p>
        </p:txBody>
      </p:sp>
      <p:sp>
        <p:nvSpPr>
          <p:cNvPr id="17" name="Picture Placeholder 5">
            <a:extLst>
              <a:ext uri="{FF2B5EF4-FFF2-40B4-BE49-F238E27FC236}">
                <a16:creationId xmlns:a16="http://schemas.microsoft.com/office/drawing/2014/main" id="{85766859-2DFF-E149-A67F-2CE6451E3513}"/>
              </a:ext>
            </a:extLst>
          </p:cNvPr>
          <p:cNvSpPr>
            <a:spLocks noGrp="1"/>
          </p:cNvSpPr>
          <p:nvPr>
            <p:ph type="pic" sz="quarter" idx="19"/>
          </p:nvPr>
        </p:nvSpPr>
        <p:spPr>
          <a:xfrm>
            <a:off x="4045601" y="3412067"/>
            <a:ext cx="4050000" cy="3430800"/>
          </a:xfrm>
        </p:spPr>
        <p:txBody>
          <a:bodyPr/>
          <a:lstStyle/>
          <a:p>
            <a:r>
              <a:rPr lang="en-US" dirty="0"/>
              <a:t>Click icon to add picture</a:t>
            </a:r>
            <a:endParaRPr lang="ar-SA" dirty="0"/>
          </a:p>
        </p:txBody>
      </p:sp>
      <p:sp>
        <p:nvSpPr>
          <p:cNvPr id="21" name="Picture Placeholder 5">
            <a:extLst>
              <a:ext uri="{FF2B5EF4-FFF2-40B4-BE49-F238E27FC236}">
                <a16:creationId xmlns:a16="http://schemas.microsoft.com/office/drawing/2014/main" id="{D9CEF993-6F87-814A-8699-1C7D1BFD0D64}"/>
              </a:ext>
            </a:extLst>
          </p:cNvPr>
          <p:cNvSpPr>
            <a:spLocks noGrp="1"/>
          </p:cNvSpPr>
          <p:nvPr>
            <p:ph type="pic" sz="quarter" idx="20"/>
          </p:nvPr>
        </p:nvSpPr>
        <p:spPr>
          <a:xfrm>
            <a:off x="8091201" y="3412067"/>
            <a:ext cx="4092898" cy="3430800"/>
          </a:xfrm>
        </p:spPr>
        <p:txBody>
          <a:bodyPr/>
          <a:lstStyle/>
          <a:p>
            <a:r>
              <a:rPr lang="en-US" dirty="0"/>
              <a:t>Click icon to add picture</a:t>
            </a:r>
            <a:endParaRPr lang="ar-SA" dirty="0"/>
          </a:p>
        </p:txBody>
      </p:sp>
      <p:sp>
        <p:nvSpPr>
          <p:cNvPr id="6" name="Picture Placeholder 5">
            <a:extLst>
              <a:ext uri="{FF2B5EF4-FFF2-40B4-BE49-F238E27FC236}">
                <a16:creationId xmlns:a16="http://schemas.microsoft.com/office/drawing/2014/main" id="{BC331CBB-A728-0B4C-AF8D-8EFE584D0892}"/>
              </a:ext>
            </a:extLst>
          </p:cNvPr>
          <p:cNvSpPr>
            <a:spLocks noGrp="1"/>
          </p:cNvSpPr>
          <p:nvPr>
            <p:ph type="pic" sz="quarter" idx="15"/>
          </p:nvPr>
        </p:nvSpPr>
        <p:spPr>
          <a:xfrm>
            <a:off x="0" y="0"/>
            <a:ext cx="4050000" cy="3430800"/>
          </a:xfrm>
        </p:spPr>
        <p:txBody>
          <a:bodyPr/>
          <a:lstStyle/>
          <a:p>
            <a:r>
              <a:rPr lang="en-US" dirty="0"/>
              <a:t>Click icon to add picture</a:t>
            </a:r>
            <a:endParaRPr lang="ar-SA" dirty="0"/>
          </a:p>
        </p:txBody>
      </p:sp>
      <p:sp>
        <p:nvSpPr>
          <p:cNvPr id="14" name="Picture Placeholder 5">
            <a:extLst>
              <a:ext uri="{FF2B5EF4-FFF2-40B4-BE49-F238E27FC236}">
                <a16:creationId xmlns:a16="http://schemas.microsoft.com/office/drawing/2014/main" id="{B29752BB-8092-2B4A-803A-2F006D0CBD11}"/>
              </a:ext>
            </a:extLst>
          </p:cNvPr>
          <p:cNvSpPr>
            <a:spLocks noGrp="1"/>
          </p:cNvSpPr>
          <p:nvPr>
            <p:ph type="pic" sz="quarter" idx="16"/>
          </p:nvPr>
        </p:nvSpPr>
        <p:spPr>
          <a:xfrm>
            <a:off x="4045601" y="0"/>
            <a:ext cx="4050000" cy="3430800"/>
          </a:xfrm>
        </p:spPr>
        <p:txBody>
          <a:bodyPr/>
          <a:lstStyle/>
          <a:p>
            <a:r>
              <a:rPr lang="en-US" dirty="0"/>
              <a:t>Click icon to add picture</a:t>
            </a:r>
            <a:endParaRPr lang="ar-SA" dirty="0"/>
          </a:p>
        </p:txBody>
      </p:sp>
      <p:sp>
        <p:nvSpPr>
          <p:cNvPr id="15" name="Picture Placeholder 5">
            <a:extLst>
              <a:ext uri="{FF2B5EF4-FFF2-40B4-BE49-F238E27FC236}">
                <a16:creationId xmlns:a16="http://schemas.microsoft.com/office/drawing/2014/main" id="{9C1E16C3-B65F-184F-9858-59B650A8BF0B}"/>
              </a:ext>
            </a:extLst>
          </p:cNvPr>
          <p:cNvSpPr>
            <a:spLocks noGrp="1"/>
          </p:cNvSpPr>
          <p:nvPr>
            <p:ph type="pic" sz="quarter" idx="17"/>
          </p:nvPr>
        </p:nvSpPr>
        <p:spPr>
          <a:xfrm>
            <a:off x="8091201" y="0"/>
            <a:ext cx="4092898" cy="3430800"/>
          </a:xfrm>
        </p:spPr>
        <p:txBody>
          <a:bodyPr/>
          <a:lstStyle/>
          <a:p>
            <a:r>
              <a:rPr lang="en-US" dirty="0"/>
              <a:t>Click icon to add picture</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a:xfrm>
            <a:off x="359999" y="6325659"/>
            <a:ext cx="125034" cy="549274"/>
          </a:xfrm>
        </p:spPr>
        <p:txBody>
          <a:bodyPr/>
          <a:lstStyle/>
          <a:p>
            <a:fld id="{9A0F7689-66CB-EC4F-9B5C-9C3D3ED1F24F}" type="slidenum">
              <a:rPr lang="en-US" smtClean="0"/>
              <a:pPr/>
              <a:t>‹#›</a:t>
            </a:fld>
            <a:endParaRPr lang="en-US" dirty="0"/>
          </a:p>
        </p:txBody>
      </p:sp>
      <p:sp>
        <p:nvSpPr>
          <p:cNvPr id="7" name="Text Placeholder 6">
            <a:extLst>
              <a:ext uri="{FF2B5EF4-FFF2-40B4-BE49-F238E27FC236}">
                <a16:creationId xmlns:a16="http://schemas.microsoft.com/office/drawing/2014/main" id="{FE10F09E-A1A1-7846-9CD2-4EC968B746F8}"/>
              </a:ext>
            </a:extLst>
          </p:cNvPr>
          <p:cNvSpPr>
            <a:spLocks noGrp="1"/>
          </p:cNvSpPr>
          <p:nvPr>
            <p:ph type="body" sz="quarter" idx="21" hasCustomPrompt="1"/>
          </p:nvPr>
        </p:nvSpPr>
        <p:spPr>
          <a:xfrm>
            <a:off x="0" y="0"/>
            <a:ext cx="4064000" cy="1398777"/>
          </a:xfrm>
        </p:spPr>
        <p:txBody>
          <a:bodyPr lIns="360000" tIns="1044000" rIns="180000">
            <a:spAutoFit/>
          </a:bodyPr>
          <a:lstStyle>
            <a:lvl1pPr marL="0" indent="0">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9" name="Text Placeholder 8">
            <a:extLst>
              <a:ext uri="{FF2B5EF4-FFF2-40B4-BE49-F238E27FC236}">
                <a16:creationId xmlns:a16="http://schemas.microsoft.com/office/drawing/2014/main" id="{4E8AD72A-19AB-2444-8FB0-B56918526444}"/>
              </a:ext>
            </a:extLst>
          </p:cNvPr>
          <p:cNvSpPr>
            <a:spLocks noGrp="1"/>
          </p:cNvSpPr>
          <p:nvPr>
            <p:ph type="body" sz="quarter" idx="27" hasCustomPrompt="1"/>
          </p:nvPr>
        </p:nvSpPr>
        <p:spPr>
          <a:xfrm>
            <a:off x="0" y="1456267"/>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28" name="Text Placeholder 6">
            <a:extLst>
              <a:ext uri="{FF2B5EF4-FFF2-40B4-BE49-F238E27FC236}">
                <a16:creationId xmlns:a16="http://schemas.microsoft.com/office/drawing/2014/main" id="{8BCE1200-691D-3A4D-89CB-198A2B97AB9F}"/>
              </a:ext>
            </a:extLst>
          </p:cNvPr>
          <p:cNvSpPr>
            <a:spLocks noGrp="1"/>
          </p:cNvSpPr>
          <p:nvPr>
            <p:ph type="body" sz="quarter" idx="28" hasCustomPrompt="1"/>
          </p:nvPr>
        </p:nvSpPr>
        <p:spPr>
          <a:xfrm>
            <a:off x="4038600" y="0"/>
            <a:ext cx="4064000" cy="1398777"/>
          </a:xfrm>
        </p:spPr>
        <p:txBody>
          <a:bodyPr lIns="360000" tIns="1044000" rIns="180000">
            <a:spAutoFit/>
          </a:bodyPr>
          <a:lstStyle>
            <a:lvl1pPr marL="0" indent="0">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29" name="Text Placeholder 8">
            <a:extLst>
              <a:ext uri="{FF2B5EF4-FFF2-40B4-BE49-F238E27FC236}">
                <a16:creationId xmlns:a16="http://schemas.microsoft.com/office/drawing/2014/main" id="{120F7620-4CA7-EF40-9659-3B5F3B76B32C}"/>
              </a:ext>
            </a:extLst>
          </p:cNvPr>
          <p:cNvSpPr>
            <a:spLocks noGrp="1"/>
          </p:cNvSpPr>
          <p:nvPr>
            <p:ph type="body" sz="quarter" idx="29" hasCustomPrompt="1"/>
          </p:nvPr>
        </p:nvSpPr>
        <p:spPr>
          <a:xfrm>
            <a:off x="4038600" y="1456267"/>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0" name="Text Placeholder 6">
            <a:extLst>
              <a:ext uri="{FF2B5EF4-FFF2-40B4-BE49-F238E27FC236}">
                <a16:creationId xmlns:a16="http://schemas.microsoft.com/office/drawing/2014/main" id="{14E3D82E-D163-0946-842C-70744B38836C}"/>
              </a:ext>
            </a:extLst>
          </p:cNvPr>
          <p:cNvSpPr>
            <a:spLocks noGrp="1"/>
          </p:cNvSpPr>
          <p:nvPr>
            <p:ph type="body" sz="quarter" idx="30" hasCustomPrompt="1"/>
          </p:nvPr>
        </p:nvSpPr>
        <p:spPr>
          <a:xfrm>
            <a:off x="8085668" y="0"/>
            <a:ext cx="4107046" cy="1398777"/>
          </a:xfrm>
        </p:spPr>
        <p:txBody>
          <a:bodyPr wrap="square" lIns="360000" tIns="1044000" rIns="180000">
            <a:spAutoFit/>
          </a:bodyPr>
          <a:lstStyle>
            <a:lvl1pPr marL="0" indent="0">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1" name="Text Placeholder 8">
            <a:extLst>
              <a:ext uri="{FF2B5EF4-FFF2-40B4-BE49-F238E27FC236}">
                <a16:creationId xmlns:a16="http://schemas.microsoft.com/office/drawing/2014/main" id="{AF0E4F46-D614-1D48-A825-5009D8C25CA5}"/>
              </a:ext>
            </a:extLst>
          </p:cNvPr>
          <p:cNvSpPr>
            <a:spLocks noGrp="1"/>
          </p:cNvSpPr>
          <p:nvPr>
            <p:ph type="body" sz="quarter" idx="31" hasCustomPrompt="1"/>
          </p:nvPr>
        </p:nvSpPr>
        <p:spPr>
          <a:xfrm>
            <a:off x="8085667" y="1456267"/>
            <a:ext cx="4089399" cy="1611586"/>
          </a:xfrm>
        </p:spPr>
        <p:txBody>
          <a:bodyPr wrap="square"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2" name="Text Placeholder 6">
            <a:extLst>
              <a:ext uri="{FF2B5EF4-FFF2-40B4-BE49-F238E27FC236}">
                <a16:creationId xmlns:a16="http://schemas.microsoft.com/office/drawing/2014/main" id="{D7AD6C3E-37D6-A44E-87F3-C1E2CDE85E9B}"/>
              </a:ext>
            </a:extLst>
          </p:cNvPr>
          <p:cNvSpPr>
            <a:spLocks noGrp="1"/>
          </p:cNvSpPr>
          <p:nvPr>
            <p:ph type="body" sz="quarter" idx="32" hasCustomPrompt="1"/>
          </p:nvPr>
        </p:nvSpPr>
        <p:spPr>
          <a:xfrm>
            <a:off x="0" y="3412067"/>
            <a:ext cx="4064000" cy="1435128"/>
          </a:xfrm>
        </p:spPr>
        <p:txBody>
          <a:bodyPr lIns="360000" tIns="1044000" rIns="180000">
            <a:spAutoFit/>
          </a:bodyPr>
          <a:lstStyle>
            <a:lvl1pPr marL="0" indent="0">
              <a:spcAft>
                <a:spcPts val="600"/>
              </a:spcAft>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3" name="Text Placeholder 8">
            <a:extLst>
              <a:ext uri="{FF2B5EF4-FFF2-40B4-BE49-F238E27FC236}">
                <a16:creationId xmlns:a16="http://schemas.microsoft.com/office/drawing/2014/main" id="{A096E938-494C-AE40-B382-AA9A2F7E215B}"/>
              </a:ext>
            </a:extLst>
          </p:cNvPr>
          <p:cNvSpPr>
            <a:spLocks noGrp="1"/>
          </p:cNvSpPr>
          <p:nvPr>
            <p:ph type="body" sz="quarter" idx="33" hasCustomPrompt="1"/>
          </p:nvPr>
        </p:nvSpPr>
        <p:spPr>
          <a:xfrm>
            <a:off x="0" y="4775199"/>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4" name="Text Placeholder 6">
            <a:extLst>
              <a:ext uri="{FF2B5EF4-FFF2-40B4-BE49-F238E27FC236}">
                <a16:creationId xmlns:a16="http://schemas.microsoft.com/office/drawing/2014/main" id="{9F2F18A9-555B-7743-AEB8-9723F979038A}"/>
              </a:ext>
            </a:extLst>
          </p:cNvPr>
          <p:cNvSpPr>
            <a:spLocks noGrp="1"/>
          </p:cNvSpPr>
          <p:nvPr>
            <p:ph type="body" sz="quarter" idx="34" hasCustomPrompt="1"/>
          </p:nvPr>
        </p:nvSpPr>
        <p:spPr>
          <a:xfrm>
            <a:off x="4038600" y="3412067"/>
            <a:ext cx="4064000" cy="1435128"/>
          </a:xfrm>
        </p:spPr>
        <p:txBody>
          <a:bodyPr lIns="360000" tIns="1044000" rIns="180000">
            <a:spAutoFit/>
          </a:bodyPr>
          <a:lstStyle>
            <a:lvl1pPr marL="0" indent="0">
              <a:spcAft>
                <a:spcPts val="600"/>
              </a:spcAft>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5" name="Text Placeholder 8">
            <a:extLst>
              <a:ext uri="{FF2B5EF4-FFF2-40B4-BE49-F238E27FC236}">
                <a16:creationId xmlns:a16="http://schemas.microsoft.com/office/drawing/2014/main" id="{ADEB42D0-7462-224F-9E2C-503723BE40C1}"/>
              </a:ext>
            </a:extLst>
          </p:cNvPr>
          <p:cNvSpPr>
            <a:spLocks noGrp="1"/>
          </p:cNvSpPr>
          <p:nvPr>
            <p:ph type="body" sz="quarter" idx="35" hasCustomPrompt="1"/>
          </p:nvPr>
        </p:nvSpPr>
        <p:spPr>
          <a:xfrm>
            <a:off x="4038600" y="4775199"/>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6" name="Text Placeholder 6">
            <a:extLst>
              <a:ext uri="{FF2B5EF4-FFF2-40B4-BE49-F238E27FC236}">
                <a16:creationId xmlns:a16="http://schemas.microsoft.com/office/drawing/2014/main" id="{1B3C86D0-1A4B-B148-8851-98CE5E30C3CE}"/>
              </a:ext>
            </a:extLst>
          </p:cNvPr>
          <p:cNvSpPr>
            <a:spLocks noGrp="1"/>
          </p:cNvSpPr>
          <p:nvPr>
            <p:ph type="body" sz="quarter" idx="36" hasCustomPrompt="1"/>
          </p:nvPr>
        </p:nvSpPr>
        <p:spPr>
          <a:xfrm>
            <a:off x="8085668" y="3412067"/>
            <a:ext cx="4107046" cy="1435128"/>
          </a:xfrm>
        </p:spPr>
        <p:txBody>
          <a:bodyPr wrap="square" lIns="360000" tIns="1044000" rIns="180000">
            <a:spAutoFit/>
          </a:bodyPr>
          <a:lstStyle>
            <a:lvl1pPr marL="0" indent="0">
              <a:spcAft>
                <a:spcPts val="600"/>
              </a:spcAft>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7" name="Text Placeholder 8">
            <a:extLst>
              <a:ext uri="{FF2B5EF4-FFF2-40B4-BE49-F238E27FC236}">
                <a16:creationId xmlns:a16="http://schemas.microsoft.com/office/drawing/2014/main" id="{74FB06E4-1E5E-4F4E-BAF9-50571C769EE9}"/>
              </a:ext>
            </a:extLst>
          </p:cNvPr>
          <p:cNvSpPr>
            <a:spLocks noGrp="1"/>
          </p:cNvSpPr>
          <p:nvPr>
            <p:ph type="body" sz="quarter" idx="37" hasCustomPrompt="1"/>
          </p:nvPr>
        </p:nvSpPr>
        <p:spPr>
          <a:xfrm>
            <a:off x="8085667" y="4775199"/>
            <a:ext cx="4089399" cy="1611586"/>
          </a:xfrm>
        </p:spPr>
        <p:txBody>
          <a:bodyPr wrap="square"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4" name="Title 3">
            <a:extLst>
              <a:ext uri="{FF2B5EF4-FFF2-40B4-BE49-F238E27FC236}">
                <a16:creationId xmlns:a16="http://schemas.microsoft.com/office/drawing/2014/main" id="{F121C6C8-157F-F549-AB35-A8B5458C2F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246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0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ext Case Study Dark">
    <p:bg>
      <p:bgPr>
        <a:solidFill>
          <a:schemeClr val="tx1">
            <a:lumMod val="90000"/>
            <a:lumOff val="10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88D16FF-04F3-CF4D-826E-036D95262513}"/>
              </a:ext>
            </a:extLst>
          </p:cNvPr>
          <p:cNvSpPr/>
          <p:nvPr userDrawn="1"/>
        </p:nvSpPr>
        <p:spPr>
          <a:xfrm>
            <a:off x="1" y="1260000"/>
            <a:ext cx="11833200" cy="50472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en-US" dirty="0"/>
          </a:p>
        </p:txBody>
      </p:sp>
      <p:sp>
        <p:nvSpPr>
          <p:cNvPr id="35" name="Rectangle 34">
            <a:extLst>
              <a:ext uri="{FF2B5EF4-FFF2-40B4-BE49-F238E27FC236}">
                <a16:creationId xmlns:a16="http://schemas.microsoft.com/office/drawing/2014/main" id="{45212A98-3392-AF4E-8F74-3560D821AC54}"/>
              </a:ext>
            </a:extLst>
          </p:cNvPr>
          <p:cNvSpPr/>
          <p:nvPr userDrawn="1"/>
        </p:nvSpPr>
        <p:spPr>
          <a:xfrm>
            <a:off x="-1" y="5824538"/>
            <a:ext cx="11832001" cy="504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40" name="MODULAR">
            <a:extLst>
              <a:ext uri="{FF2B5EF4-FFF2-40B4-BE49-F238E27FC236}">
                <a16:creationId xmlns:a16="http://schemas.microsoft.com/office/drawing/2014/main" id="{3C6DD541-D406-2244-B967-4A28D88FCB9B}"/>
              </a:ext>
            </a:extLst>
          </p:cNvPr>
          <p:cNvSpPr txBox="1"/>
          <p:nvPr userDrawn="1"/>
        </p:nvSpPr>
        <p:spPr>
          <a:xfrm>
            <a:off x="0" y="5824539"/>
            <a:ext cx="1692000" cy="503999"/>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lIns="0" tIns="0" rIns="72000" bIns="0" rtlCol="0" anchor="ctr" anchorCtr="0">
            <a:normAutofit/>
          </a:bodyPr>
          <a:lstStyle>
            <a:defPPr marR="0" lvl="0" algn="l" rtl="0">
              <a:lnSpc>
                <a:spcPct val="100000"/>
              </a:lnSpc>
              <a:spcBef>
                <a:spcPts val="0"/>
              </a:spcBef>
              <a:spcAft>
                <a:spcPts val="0"/>
              </a:spcAft>
              <a:defRPr/>
            </a:defPPr>
            <a:lvl1pPr lvl="0" indent="0" algn="r">
              <a:lnSpc>
                <a:spcPct val="120000"/>
              </a:lnSpc>
              <a:spcBef>
                <a:spcPts val="1200"/>
              </a:spcBef>
              <a:buClr>
                <a:schemeClr val="accent1"/>
              </a:buClr>
              <a:buFont typeface="Arial" panose="020B0604020202020204" pitchFamily="34" charset="0"/>
              <a:buNone/>
              <a:defRPr lang="en-US" sz="1200" baseline="0" dirty="0" smtClean="0">
                <a:solidFill>
                  <a:schemeClr val="tx2">
                    <a:lumMod val="60000"/>
                    <a:lumOff val="40000"/>
                  </a:schemeClr>
                </a:solidFill>
              </a:defRPr>
            </a:lvl1pPr>
            <a:lvl2pPr marL="540000" indent="-180000">
              <a:lnSpc>
                <a:spcPct val="120000"/>
              </a:lnSpc>
              <a:spcBef>
                <a:spcPts val="500"/>
              </a:spcBef>
              <a:buClr>
                <a:schemeClr val="accent1"/>
              </a:buClr>
              <a:buFont typeface="System Font Regular"/>
              <a:buChar char="-"/>
              <a:defRPr lang="en-US" sz="1600" baseline="0" dirty="0" smtClean="0">
                <a:solidFill>
                  <a:schemeClr val="bg2"/>
                </a:solidFill>
              </a:defRPr>
            </a:lvl2pPr>
            <a:lvl3pPr indent="0">
              <a:lnSpc>
                <a:spcPct val="120000"/>
              </a:lnSpc>
              <a:spcBef>
                <a:spcPts val="500"/>
              </a:spcBef>
              <a:buClr>
                <a:schemeClr val="accent1"/>
              </a:buClr>
              <a:buFont typeface="Arial" panose="020B0604020202020204" pitchFamily="34" charset="0"/>
              <a:buNone/>
              <a:defRPr sz="1600" baseline="0"/>
            </a:lvl3pPr>
            <a:lvl4pPr marL="1600200" indent="-228600">
              <a:lnSpc>
                <a:spcPct val="120000"/>
              </a:lnSpc>
              <a:spcBef>
                <a:spcPts val="500"/>
              </a:spcBef>
              <a:buClr>
                <a:schemeClr val="accent1"/>
              </a:buClr>
              <a:buFont typeface="Arial" panose="020B0604020202020204" pitchFamily="34" charset="0"/>
              <a:buChar char="•"/>
              <a:defRPr sz="1600" baseline="0"/>
            </a:lvl4pPr>
            <a:lvl5pPr marL="2057400" indent="-228600">
              <a:lnSpc>
                <a:spcPct val="120000"/>
              </a:lnSpc>
              <a:spcBef>
                <a:spcPts val="500"/>
              </a:spcBef>
              <a:buClr>
                <a:schemeClr val="accent1"/>
              </a:buClr>
              <a:buFont typeface="Arial" panose="020B0604020202020204" pitchFamily="34" charset="0"/>
              <a:buChar char="•"/>
              <a:defRPr sz="16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dirty="0"/>
              <a:t>Technologies Used</a:t>
            </a:r>
            <a:endParaRPr lang="en-US" dirty="0"/>
          </a:p>
        </p:txBody>
      </p:sp>
      <p:sp>
        <p:nvSpPr>
          <p:cNvPr id="2" name="Title 1">
            <a:extLst>
              <a:ext uri="{FF2B5EF4-FFF2-40B4-BE49-F238E27FC236}">
                <a16:creationId xmlns:a16="http://schemas.microsoft.com/office/drawing/2014/main" id="{7760C7AB-17FB-2E45-8A14-F90B3CEE6E6D}"/>
              </a:ext>
            </a:extLst>
          </p:cNvPr>
          <p:cNvSpPr>
            <a:spLocks noGrp="1"/>
          </p:cNvSpPr>
          <p:nvPr>
            <p:ph type="title"/>
          </p:nvPr>
        </p:nvSpPr>
        <p:spPr>
          <a:xfrm>
            <a:off x="360000" y="0"/>
            <a:ext cx="9648000" cy="1263600"/>
          </a:xfrm>
        </p:spPr>
        <p:txBody>
          <a:bodyPr anchor="ctr" anchorCtr="0">
            <a:normAutofit/>
          </a:bodyPr>
          <a:lstStyle>
            <a:lvl1pPr>
              <a:lnSpc>
                <a:spcPct val="100000"/>
              </a:lnSpc>
              <a:defRPr sz="2400" b="1" i="0" spc="-150" baseline="0">
                <a:solidFill>
                  <a:schemeClr val="bg2"/>
                </a:solidFill>
                <a:latin typeface="Arial Black" panose="020B0604020202020204" pitchFamily="34" charset="0"/>
                <a:cs typeface="Arial Black" panose="020B0604020202020204" pitchFamily="34" charset="0"/>
              </a:defRPr>
            </a:lvl1pPr>
          </a:lstStyle>
          <a:p>
            <a:r>
              <a:rPr lang="en-US"/>
              <a:t>Click to edit Master title style</a:t>
            </a:r>
            <a:endParaRPr lang="ar-SA" dirty="0"/>
          </a:p>
        </p:txBody>
      </p:sp>
      <p:sp>
        <p:nvSpPr>
          <p:cNvPr id="3" name="Slide Number Placeholder 2">
            <a:extLst>
              <a:ext uri="{FF2B5EF4-FFF2-40B4-BE49-F238E27FC236}">
                <a16:creationId xmlns:a16="http://schemas.microsoft.com/office/drawing/2014/main" id="{D44B9958-9D04-3F4A-A81F-8BA79836EFF0}"/>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8" name="Picture Placeholder 15">
            <a:extLst>
              <a:ext uri="{FF2B5EF4-FFF2-40B4-BE49-F238E27FC236}">
                <a16:creationId xmlns:a16="http://schemas.microsoft.com/office/drawing/2014/main" id="{AB8D3942-DD43-364C-9A77-FBC6C40762E4}"/>
              </a:ext>
            </a:extLst>
          </p:cNvPr>
          <p:cNvSpPr>
            <a:spLocks noGrp="1"/>
          </p:cNvSpPr>
          <p:nvPr>
            <p:ph type="pic" sz="quarter" idx="12"/>
          </p:nvPr>
        </p:nvSpPr>
        <p:spPr>
          <a:xfrm>
            <a:off x="10213939" y="0"/>
            <a:ext cx="1600000" cy="1263600"/>
          </a:xfrm>
        </p:spPr>
        <p:txBody>
          <a:bodyPr anchor="ctr" anchorCtr="0"/>
          <a:lstStyle>
            <a:lvl1pPr marL="0" indent="0" algn="r">
              <a:buNone/>
              <a:defRPr/>
            </a:lvl1pPr>
          </a:lstStyle>
          <a:p>
            <a:r>
              <a:rPr lang="en-US" dirty="0"/>
              <a:t>Click icon to add picture</a:t>
            </a:r>
          </a:p>
        </p:txBody>
      </p:sp>
      <p:sp>
        <p:nvSpPr>
          <p:cNvPr id="16" name="ROBUST SANDBOX">
            <a:extLst>
              <a:ext uri="{FF2B5EF4-FFF2-40B4-BE49-F238E27FC236}">
                <a16:creationId xmlns:a16="http://schemas.microsoft.com/office/drawing/2014/main" id="{F02B94EE-1770-894C-9784-CF44654988C3}"/>
              </a:ext>
            </a:extLst>
          </p:cNvPr>
          <p:cNvSpPr txBox="1"/>
          <p:nvPr userDrawn="1"/>
        </p:nvSpPr>
        <p:spPr>
          <a:xfrm>
            <a:off x="4251600" y="1382400"/>
            <a:ext cx="3671999" cy="5400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kumimoji="0" lang="en-US" b="1" u="none" strike="noStrike" kern="1200" cap="none" normalizeH="0" noProof="0" dirty="0">
                <a:ln>
                  <a:noFill/>
                </a:ln>
                <a:solidFill>
                  <a:schemeClr val="tx1"/>
                </a:solidFill>
                <a:effectLst/>
                <a:uLnTx/>
                <a:uFillTx/>
                <a:latin typeface="+mj-lt"/>
                <a:cs typeface="Arial Black" panose="020B0604020202020204" pitchFamily="34" charset="0"/>
              </a:rPr>
              <a:t>Solutions</a:t>
            </a:r>
          </a:p>
        </p:txBody>
      </p:sp>
      <p:sp>
        <p:nvSpPr>
          <p:cNvPr id="17" name="MODULAR">
            <a:extLst>
              <a:ext uri="{FF2B5EF4-FFF2-40B4-BE49-F238E27FC236}">
                <a16:creationId xmlns:a16="http://schemas.microsoft.com/office/drawing/2014/main" id="{8BB3C91B-CFB7-4048-B73A-10F6FB3F6810}"/>
              </a:ext>
            </a:extLst>
          </p:cNvPr>
          <p:cNvSpPr txBox="1"/>
          <p:nvPr userDrawn="1"/>
        </p:nvSpPr>
        <p:spPr>
          <a:xfrm>
            <a:off x="360000" y="1382400"/>
            <a:ext cx="3671999" cy="5400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tx1"/>
                </a:solidFill>
                <a:latin typeface="+mj-lt"/>
                <a:cs typeface="Arial Black" panose="020B0604020202020204" pitchFamily="34" charset="0"/>
              </a:rPr>
              <a:t>Challenges</a:t>
            </a:r>
          </a:p>
        </p:txBody>
      </p:sp>
      <p:sp>
        <p:nvSpPr>
          <p:cNvPr id="18" name="ROBUST SANDBOX">
            <a:extLst>
              <a:ext uri="{FF2B5EF4-FFF2-40B4-BE49-F238E27FC236}">
                <a16:creationId xmlns:a16="http://schemas.microsoft.com/office/drawing/2014/main" id="{2BB39154-C0A6-4C46-B72F-40AF2E2BEF14}"/>
              </a:ext>
            </a:extLst>
          </p:cNvPr>
          <p:cNvSpPr txBox="1"/>
          <p:nvPr userDrawn="1"/>
        </p:nvSpPr>
        <p:spPr>
          <a:xfrm>
            <a:off x="8143200" y="1382103"/>
            <a:ext cx="3492000" cy="5400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tx1"/>
                </a:solidFill>
                <a:latin typeface="+mj-lt"/>
                <a:cs typeface="Arial Black" panose="020B0604020202020204" pitchFamily="34" charset="0"/>
              </a:rPr>
              <a:t>Outcomes</a:t>
            </a:r>
          </a:p>
        </p:txBody>
      </p:sp>
      <p:cxnSp>
        <p:nvCxnSpPr>
          <p:cNvPr id="19" name="Straight Connector 18">
            <a:extLst>
              <a:ext uri="{FF2B5EF4-FFF2-40B4-BE49-F238E27FC236}">
                <a16:creationId xmlns:a16="http://schemas.microsoft.com/office/drawing/2014/main" id="{070A8238-3A12-AF4B-96FA-C304AA8A4BD1}"/>
              </a:ext>
            </a:extLst>
          </p:cNvPr>
          <p:cNvCxnSpPr>
            <a:cxnSpLocks/>
          </p:cNvCxnSpPr>
          <p:nvPr userDrawn="1"/>
        </p:nvCxnSpPr>
        <p:spPr>
          <a:xfrm>
            <a:off x="360000" y="1900800"/>
            <a:ext cx="3672000"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4AF62ED-781B-DA4D-B4B9-754E608B9176}"/>
              </a:ext>
            </a:extLst>
          </p:cNvPr>
          <p:cNvCxnSpPr>
            <a:cxnSpLocks/>
          </p:cNvCxnSpPr>
          <p:nvPr userDrawn="1"/>
        </p:nvCxnSpPr>
        <p:spPr>
          <a:xfrm>
            <a:off x="4251600" y="1900800"/>
            <a:ext cx="3672000"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5E095EA-1565-244F-8BF5-58785C25BCA0}"/>
              </a:ext>
            </a:extLst>
          </p:cNvPr>
          <p:cNvCxnSpPr>
            <a:cxnSpLocks/>
          </p:cNvCxnSpPr>
          <p:nvPr userDrawn="1"/>
        </p:nvCxnSpPr>
        <p:spPr>
          <a:xfrm>
            <a:off x="8143200" y="1900800"/>
            <a:ext cx="3492000"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24">
            <a:extLst>
              <a:ext uri="{FF2B5EF4-FFF2-40B4-BE49-F238E27FC236}">
                <a16:creationId xmlns:a16="http://schemas.microsoft.com/office/drawing/2014/main" id="{1DB0952F-6F70-034C-8F43-2DB7A8735F07}"/>
              </a:ext>
            </a:extLst>
          </p:cNvPr>
          <p:cNvSpPr>
            <a:spLocks noGrp="1"/>
          </p:cNvSpPr>
          <p:nvPr>
            <p:ph type="body" sz="quarter" idx="14"/>
          </p:nvPr>
        </p:nvSpPr>
        <p:spPr>
          <a:xfrm>
            <a:off x="4251600" y="2102400"/>
            <a:ext cx="3675600" cy="3520794"/>
          </a:xfrm>
        </p:spPr>
        <p:txBody>
          <a:bodyPr>
            <a:normAutofit/>
          </a:bodyPr>
          <a:lstStyle>
            <a:lvl1pPr marL="172800" indent="-180000">
              <a:lnSpc>
                <a:spcPct val="110000"/>
              </a:lnSpc>
              <a:spcBef>
                <a:spcPts val="0"/>
              </a:spcBef>
              <a:spcAft>
                <a:spcPts val="1200"/>
              </a:spcAft>
              <a:buFont typeface="System Font Regular"/>
              <a:buChar char="\"/>
              <a:defRPr sz="1400">
                <a:solidFill>
                  <a:schemeClr val="tx1"/>
                </a:solidFill>
              </a:defRPr>
            </a:lvl1pPr>
            <a:lvl2pPr marL="360000" indent="0">
              <a:lnSpc>
                <a:spcPct val="110000"/>
              </a:lnSpc>
              <a:spcBef>
                <a:spcPts val="0"/>
              </a:spcBef>
              <a:spcAft>
                <a:spcPts val="1200"/>
              </a:spcAft>
              <a:buNone/>
              <a:defRPr sz="1400">
                <a:solidFill>
                  <a:schemeClr val="tx1"/>
                </a:solidFill>
              </a:defRPr>
            </a:lvl2pPr>
          </a:lstStyle>
          <a:p>
            <a:pPr lvl="0"/>
            <a:r>
              <a:rPr lang="en-US"/>
              <a:t>Click to edit Master text styles</a:t>
            </a:r>
          </a:p>
          <a:p>
            <a:pPr lvl="1"/>
            <a:r>
              <a:rPr lang="en-US"/>
              <a:t>Second level</a:t>
            </a:r>
          </a:p>
        </p:txBody>
      </p:sp>
      <p:sp>
        <p:nvSpPr>
          <p:cNvPr id="33" name="Text Placeholder 32">
            <a:extLst>
              <a:ext uri="{FF2B5EF4-FFF2-40B4-BE49-F238E27FC236}">
                <a16:creationId xmlns:a16="http://schemas.microsoft.com/office/drawing/2014/main" id="{7489F97D-53DB-BC4C-B10A-A5E67DCBB199}"/>
              </a:ext>
            </a:extLst>
          </p:cNvPr>
          <p:cNvSpPr>
            <a:spLocks noGrp="1"/>
          </p:cNvSpPr>
          <p:nvPr>
            <p:ph type="body" sz="quarter" idx="16" hasCustomPrompt="1"/>
          </p:nvPr>
        </p:nvSpPr>
        <p:spPr>
          <a:xfrm>
            <a:off x="8135999" y="2102400"/>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34" name="Text Placeholder 32">
            <a:extLst>
              <a:ext uri="{FF2B5EF4-FFF2-40B4-BE49-F238E27FC236}">
                <a16:creationId xmlns:a16="http://schemas.microsoft.com/office/drawing/2014/main" id="{6994B2F1-B396-4A42-BE92-7E3F83453F4A}"/>
              </a:ext>
            </a:extLst>
          </p:cNvPr>
          <p:cNvSpPr>
            <a:spLocks noGrp="1"/>
          </p:cNvSpPr>
          <p:nvPr>
            <p:ph type="body" sz="quarter" idx="17" hasCustomPrompt="1"/>
          </p:nvPr>
        </p:nvSpPr>
        <p:spPr>
          <a:xfrm>
            <a:off x="8136000" y="2484000"/>
            <a:ext cx="3492000" cy="360000"/>
          </a:xfrm>
          <a:solidFill>
            <a:schemeClr val="bg1"/>
          </a:solidFill>
          <a:effectLst>
            <a:outerShdw dist="12700" dir="5400000" algn="t" rotWithShape="0">
              <a:schemeClr val="tx2">
                <a:lumMod val="40000"/>
                <a:lumOff val="60000"/>
              </a:schemeClr>
            </a:outerShdw>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11" name="Text Placeholder 10">
            <a:extLst>
              <a:ext uri="{FF2B5EF4-FFF2-40B4-BE49-F238E27FC236}">
                <a16:creationId xmlns:a16="http://schemas.microsoft.com/office/drawing/2014/main" id="{33185859-63E4-5149-AA93-07B443766151}"/>
              </a:ext>
            </a:extLst>
          </p:cNvPr>
          <p:cNvSpPr>
            <a:spLocks noGrp="1"/>
          </p:cNvSpPr>
          <p:nvPr>
            <p:ph type="body" sz="quarter" idx="28"/>
          </p:nvPr>
        </p:nvSpPr>
        <p:spPr>
          <a:xfrm>
            <a:off x="358775" y="2101851"/>
            <a:ext cx="3675600" cy="3520789"/>
          </a:xfrm>
          <a:ln>
            <a:noFill/>
          </a:ln>
        </p:spPr>
        <p:txBody>
          <a:bodyPr>
            <a:normAutofit/>
          </a:bodyPr>
          <a:lstStyle>
            <a:lvl1pPr marL="172800" indent="-180000">
              <a:lnSpc>
                <a:spcPct val="110000"/>
              </a:lnSpc>
              <a:spcBef>
                <a:spcPts val="0"/>
              </a:spcBef>
              <a:spcAft>
                <a:spcPts val="1200"/>
              </a:spcAft>
              <a:buFont typeface="System Font Regular"/>
              <a:buChar char="\"/>
              <a:defRPr sz="1400">
                <a:solidFill>
                  <a:schemeClr val="tx1"/>
                </a:solidFill>
              </a:defRPr>
            </a:lvl1pPr>
            <a:lvl2pPr marL="172800">
              <a:lnSpc>
                <a:spcPct val="110000"/>
              </a:lnSpc>
              <a:spcBef>
                <a:spcPts val="0"/>
              </a:spcBef>
              <a:spcAft>
                <a:spcPts val="1200"/>
              </a:spcAft>
              <a:defRPr sz="1400">
                <a:solidFill>
                  <a:schemeClr val="tx1"/>
                </a:solidFill>
              </a:defRPr>
            </a:lvl2pPr>
            <a:lvl3pPr marL="172800">
              <a:lnSpc>
                <a:spcPct val="110000"/>
              </a:lnSpc>
              <a:spcBef>
                <a:spcPts val="0"/>
              </a:spcBef>
              <a:spcAft>
                <a:spcPts val="1200"/>
              </a:spcAft>
              <a:defRPr sz="1400">
                <a:solidFill>
                  <a:schemeClr val="tx1"/>
                </a:solidFill>
              </a:defRPr>
            </a:lvl3pPr>
            <a:lvl4pPr marL="172800">
              <a:lnSpc>
                <a:spcPct val="110000"/>
              </a:lnSpc>
              <a:spcBef>
                <a:spcPts val="0"/>
              </a:spcBef>
              <a:spcAft>
                <a:spcPts val="1200"/>
              </a:spcAft>
              <a:defRPr sz="1400">
                <a:solidFill>
                  <a:schemeClr val="tx1"/>
                </a:solidFill>
              </a:defRPr>
            </a:lvl4pPr>
            <a:lvl5pPr marL="172800">
              <a:lnSpc>
                <a:spcPct val="110000"/>
              </a:lnSpc>
              <a:spcBef>
                <a:spcPts val="0"/>
              </a:spcBef>
              <a:spcAft>
                <a:spcPts val="1200"/>
              </a:spcAft>
              <a:defRPr sz="1400">
                <a:solidFill>
                  <a:schemeClr val="tx1"/>
                </a:solidFill>
              </a:defRPr>
            </a:lvl5pPr>
          </a:lstStyle>
          <a:p>
            <a:pPr lvl="0"/>
            <a:r>
              <a:rPr lang="en-US"/>
              <a:t>Click to edit Master text styles</a:t>
            </a:r>
          </a:p>
        </p:txBody>
      </p:sp>
      <p:sp>
        <p:nvSpPr>
          <p:cNvPr id="31" name="Text Placeholder 32">
            <a:extLst>
              <a:ext uri="{FF2B5EF4-FFF2-40B4-BE49-F238E27FC236}">
                <a16:creationId xmlns:a16="http://schemas.microsoft.com/office/drawing/2014/main" id="{C7EBB505-C4E7-C141-876F-C91DD9CF9185}"/>
              </a:ext>
            </a:extLst>
          </p:cNvPr>
          <p:cNvSpPr>
            <a:spLocks noGrp="1"/>
          </p:cNvSpPr>
          <p:nvPr>
            <p:ph type="body" sz="quarter" idx="29" hasCustomPrompt="1"/>
          </p:nvPr>
        </p:nvSpPr>
        <p:spPr>
          <a:xfrm>
            <a:off x="8135999" y="3025774"/>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32" name="Text Placeholder 32">
            <a:extLst>
              <a:ext uri="{FF2B5EF4-FFF2-40B4-BE49-F238E27FC236}">
                <a16:creationId xmlns:a16="http://schemas.microsoft.com/office/drawing/2014/main" id="{2EC21501-A3C3-1341-A861-7D403C55D4AF}"/>
              </a:ext>
            </a:extLst>
          </p:cNvPr>
          <p:cNvSpPr>
            <a:spLocks noGrp="1"/>
          </p:cNvSpPr>
          <p:nvPr>
            <p:ph type="body" sz="quarter" idx="30" hasCustomPrompt="1"/>
          </p:nvPr>
        </p:nvSpPr>
        <p:spPr>
          <a:xfrm>
            <a:off x="8136000" y="3407374"/>
            <a:ext cx="3492000" cy="360000"/>
          </a:xfrm>
          <a:solidFill>
            <a:schemeClr val="bg1"/>
          </a:solidFill>
          <a:effectLst>
            <a:outerShdw dist="12700" dir="5400000" algn="t" rotWithShape="0">
              <a:schemeClr val="tx2">
                <a:lumMod val="40000"/>
                <a:lumOff val="60000"/>
              </a:schemeClr>
            </a:outerShdw>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42" name="Text Placeholder 32">
            <a:extLst>
              <a:ext uri="{FF2B5EF4-FFF2-40B4-BE49-F238E27FC236}">
                <a16:creationId xmlns:a16="http://schemas.microsoft.com/office/drawing/2014/main" id="{0199B378-CEF8-354D-8A0D-E490C5D661D7}"/>
              </a:ext>
            </a:extLst>
          </p:cNvPr>
          <p:cNvSpPr>
            <a:spLocks noGrp="1"/>
          </p:cNvSpPr>
          <p:nvPr>
            <p:ph type="body" sz="quarter" idx="31" hasCustomPrompt="1"/>
          </p:nvPr>
        </p:nvSpPr>
        <p:spPr>
          <a:xfrm>
            <a:off x="8135999" y="3949498"/>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43" name="Text Placeholder 32">
            <a:extLst>
              <a:ext uri="{FF2B5EF4-FFF2-40B4-BE49-F238E27FC236}">
                <a16:creationId xmlns:a16="http://schemas.microsoft.com/office/drawing/2014/main" id="{863606CD-FE7E-8D42-9594-8929842EABBD}"/>
              </a:ext>
            </a:extLst>
          </p:cNvPr>
          <p:cNvSpPr>
            <a:spLocks noGrp="1"/>
          </p:cNvSpPr>
          <p:nvPr>
            <p:ph type="body" sz="quarter" idx="32" hasCustomPrompt="1"/>
          </p:nvPr>
        </p:nvSpPr>
        <p:spPr>
          <a:xfrm>
            <a:off x="8136000" y="4331098"/>
            <a:ext cx="3492000" cy="360000"/>
          </a:xfrm>
          <a:solidFill>
            <a:schemeClr val="bg1"/>
          </a:solidFill>
          <a:effectLst>
            <a:outerShdw dist="12700" dir="5400000" algn="t" rotWithShape="0">
              <a:schemeClr val="tx2">
                <a:lumMod val="40000"/>
                <a:lumOff val="60000"/>
              </a:schemeClr>
            </a:outerShdw>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44" name="Text Placeholder 32">
            <a:extLst>
              <a:ext uri="{FF2B5EF4-FFF2-40B4-BE49-F238E27FC236}">
                <a16:creationId xmlns:a16="http://schemas.microsoft.com/office/drawing/2014/main" id="{0FC99C4E-81D7-6743-8425-24F8A8DBCA3C}"/>
              </a:ext>
            </a:extLst>
          </p:cNvPr>
          <p:cNvSpPr>
            <a:spLocks noGrp="1"/>
          </p:cNvSpPr>
          <p:nvPr>
            <p:ph type="body" sz="quarter" idx="33" hasCustomPrompt="1"/>
          </p:nvPr>
        </p:nvSpPr>
        <p:spPr>
          <a:xfrm>
            <a:off x="8135999" y="4885768"/>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45" name="Text Placeholder 32">
            <a:extLst>
              <a:ext uri="{FF2B5EF4-FFF2-40B4-BE49-F238E27FC236}">
                <a16:creationId xmlns:a16="http://schemas.microsoft.com/office/drawing/2014/main" id="{4BD33E9A-855E-BB44-9773-831855D8F054}"/>
              </a:ext>
            </a:extLst>
          </p:cNvPr>
          <p:cNvSpPr>
            <a:spLocks noGrp="1"/>
          </p:cNvSpPr>
          <p:nvPr>
            <p:ph type="body" sz="quarter" idx="34" hasCustomPrompt="1"/>
          </p:nvPr>
        </p:nvSpPr>
        <p:spPr>
          <a:xfrm>
            <a:off x="8136000" y="5267368"/>
            <a:ext cx="3492000" cy="360000"/>
          </a:xfrm>
          <a:solidFill>
            <a:schemeClr val="bg1"/>
          </a:solidFill>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38" name="Text Placeholder 9">
            <a:extLst>
              <a:ext uri="{FF2B5EF4-FFF2-40B4-BE49-F238E27FC236}">
                <a16:creationId xmlns:a16="http://schemas.microsoft.com/office/drawing/2014/main" id="{35348F6D-D35F-F741-9D2D-AA26B75BC381}"/>
              </a:ext>
            </a:extLst>
          </p:cNvPr>
          <p:cNvSpPr>
            <a:spLocks noGrp="1"/>
          </p:cNvSpPr>
          <p:nvPr>
            <p:ph type="body" sz="quarter" idx="37" hasCustomPrompt="1"/>
          </p:nvPr>
        </p:nvSpPr>
        <p:spPr>
          <a:xfrm>
            <a:off x="1706400" y="5824538"/>
            <a:ext cx="4428000" cy="504000"/>
          </a:xfrm>
        </p:spPr>
        <p:txBody>
          <a:bodyPr anchor="ctr">
            <a:normAutofit/>
          </a:bodyPr>
          <a:lstStyle>
            <a:lvl1pPr marL="0" indent="0">
              <a:buNone/>
              <a:defRPr sz="1200" b="1">
                <a:solidFill>
                  <a:schemeClr val="tx1"/>
                </a:solidFill>
              </a:defRPr>
            </a:lvl1pPr>
            <a:lvl2pPr marL="360000" indent="0">
              <a:buNone/>
              <a:defRPr sz="1200" b="1">
                <a:solidFill>
                  <a:schemeClr val="tx1"/>
                </a:solidFill>
              </a:defRPr>
            </a:lvl2pPr>
            <a:lvl3pPr marL="914400" indent="0">
              <a:buFont typeface="Arial" panose="020B0604020202020204" pitchFamily="34" charset="0"/>
              <a:buNone/>
              <a:defRPr sz="1200" b="1">
                <a:solidFill>
                  <a:schemeClr val="tx1"/>
                </a:solidFill>
              </a:defRPr>
            </a:lvl3pPr>
            <a:lvl4pPr marL="1371600" indent="0">
              <a:buNone/>
              <a:defRPr sz="1200" b="1">
                <a:solidFill>
                  <a:schemeClr val="tx1"/>
                </a:solidFill>
              </a:defRPr>
            </a:lvl4pPr>
            <a:lvl5pPr marL="1828800" indent="0">
              <a:buNone/>
              <a:defRPr sz="1200" b="1">
                <a:solidFill>
                  <a:schemeClr val="tx1"/>
                </a:solidFill>
              </a:defRPr>
            </a:lvl5pPr>
          </a:lstStyle>
          <a:p>
            <a:pPr lvl="0"/>
            <a:r>
              <a:rPr lang="en-US" dirty="0"/>
              <a:t>Enter technologies separated \ by \ backward \ slashes </a:t>
            </a:r>
          </a:p>
        </p:txBody>
      </p:sp>
      <p:sp>
        <p:nvSpPr>
          <p:cNvPr id="39" name="Text Placeholder 9">
            <a:extLst>
              <a:ext uri="{FF2B5EF4-FFF2-40B4-BE49-F238E27FC236}">
                <a16:creationId xmlns:a16="http://schemas.microsoft.com/office/drawing/2014/main" id="{0BB6E91A-328B-074C-A994-98AE3F677F70}"/>
              </a:ext>
            </a:extLst>
          </p:cNvPr>
          <p:cNvSpPr>
            <a:spLocks noGrp="1"/>
          </p:cNvSpPr>
          <p:nvPr>
            <p:ph type="body" sz="quarter" idx="38" hasCustomPrompt="1"/>
          </p:nvPr>
        </p:nvSpPr>
        <p:spPr>
          <a:xfrm>
            <a:off x="7594994" y="5824538"/>
            <a:ext cx="4237006" cy="504000"/>
          </a:xfrm>
        </p:spPr>
        <p:txBody>
          <a:bodyPr anchor="ctr">
            <a:normAutofit/>
          </a:bodyPr>
          <a:lstStyle>
            <a:lvl1pPr marL="0" indent="0">
              <a:buNone/>
              <a:defRPr sz="1200" b="1">
                <a:solidFill>
                  <a:schemeClr val="tx1"/>
                </a:solidFill>
              </a:defRPr>
            </a:lvl1pPr>
            <a:lvl2pPr marL="360000" indent="0">
              <a:buNone/>
              <a:defRPr sz="1200" b="1">
                <a:solidFill>
                  <a:schemeClr val="tx1"/>
                </a:solidFill>
              </a:defRPr>
            </a:lvl2pPr>
            <a:lvl3pPr marL="914400" indent="0">
              <a:buFont typeface="Arial" panose="020B0604020202020204" pitchFamily="34" charset="0"/>
              <a:buNone/>
              <a:defRPr sz="1200" b="1">
                <a:solidFill>
                  <a:schemeClr val="tx1"/>
                </a:solidFill>
              </a:defRPr>
            </a:lvl3pPr>
            <a:lvl4pPr marL="1371600" indent="0">
              <a:buNone/>
              <a:defRPr sz="1200" b="1">
                <a:solidFill>
                  <a:schemeClr val="tx1"/>
                </a:solidFill>
              </a:defRPr>
            </a:lvl4pPr>
            <a:lvl5pPr marL="1828800" indent="0">
              <a:buNone/>
              <a:defRPr sz="1200" b="1">
                <a:solidFill>
                  <a:schemeClr val="tx1"/>
                </a:solidFill>
              </a:defRPr>
            </a:lvl5pPr>
          </a:lstStyle>
          <a:p>
            <a:pPr lvl="0"/>
            <a:r>
              <a:rPr lang="en-US" dirty="0"/>
              <a:t>Enter technologies separated \ by \ backward \ slashes </a:t>
            </a:r>
          </a:p>
        </p:txBody>
      </p:sp>
      <p:sp>
        <p:nvSpPr>
          <p:cNvPr id="41" name="MODULAR">
            <a:extLst>
              <a:ext uri="{FF2B5EF4-FFF2-40B4-BE49-F238E27FC236}">
                <a16:creationId xmlns:a16="http://schemas.microsoft.com/office/drawing/2014/main" id="{EAE9B276-5B99-E04E-BF3C-530FFC35E2DE}"/>
              </a:ext>
            </a:extLst>
          </p:cNvPr>
          <p:cNvSpPr txBox="1"/>
          <p:nvPr userDrawn="1"/>
        </p:nvSpPr>
        <p:spPr>
          <a:xfrm>
            <a:off x="6134399" y="5824539"/>
            <a:ext cx="1459393" cy="503999"/>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lIns="0" tIns="0" rIns="72000" bIns="0" rtlCol="0" anchor="ctr" anchorCtr="0">
            <a:normAutofit/>
          </a:bodyPr>
          <a:lstStyle>
            <a:defPPr marR="0" lvl="0" algn="l" rtl="0">
              <a:lnSpc>
                <a:spcPct val="100000"/>
              </a:lnSpc>
              <a:spcBef>
                <a:spcPts val="0"/>
              </a:spcBef>
              <a:spcAft>
                <a:spcPts val="0"/>
              </a:spcAft>
              <a:defRPr/>
            </a:defPPr>
            <a:lvl1pPr lvl="0" indent="0" algn="r">
              <a:lnSpc>
                <a:spcPct val="120000"/>
              </a:lnSpc>
              <a:spcBef>
                <a:spcPts val="1200"/>
              </a:spcBef>
              <a:buClr>
                <a:schemeClr val="accent1"/>
              </a:buClr>
              <a:buFont typeface="Arial" panose="020B0604020202020204" pitchFamily="34" charset="0"/>
              <a:buNone/>
              <a:defRPr lang="en-US" sz="1200" baseline="0" dirty="0" smtClean="0">
                <a:solidFill>
                  <a:schemeClr val="tx2">
                    <a:lumMod val="60000"/>
                    <a:lumOff val="40000"/>
                  </a:schemeClr>
                </a:solidFill>
              </a:defRPr>
            </a:lvl1pPr>
            <a:lvl2pPr marL="540000" indent="-180000">
              <a:lnSpc>
                <a:spcPct val="120000"/>
              </a:lnSpc>
              <a:spcBef>
                <a:spcPts val="500"/>
              </a:spcBef>
              <a:buClr>
                <a:schemeClr val="accent1"/>
              </a:buClr>
              <a:buFont typeface="System Font Regular"/>
              <a:buChar char="-"/>
              <a:defRPr lang="en-US" sz="1600" baseline="0" dirty="0" smtClean="0">
                <a:solidFill>
                  <a:schemeClr val="bg2"/>
                </a:solidFill>
              </a:defRPr>
            </a:lvl2pPr>
            <a:lvl3pPr indent="0">
              <a:lnSpc>
                <a:spcPct val="120000"/>
              </a:lnSpc>
              <a:spcBef>
                <a:spcPts val="500"/>
              </a:spcBef>
              <a:buClr>
                <a:schemeClr val="accent1"/>
              </a:buClr>
              <a:buFont typeface="Arial" panose="020B0604020202020204" pitchFamily="34" charset="0"/>
              <a:buNone/>
              <a:defRPr sz="1600" baseline="0"/>
            </a:lvl3pPr>
            <a:lvl4pPr marL="1600200" indent="-228600">
              <a:lnSpc>
                <a:spcPct val="120000"/>
              </a:lnSpc>
              <a:spcBef>
                <a:spcPts val="500"/>
              </a:spcBef>
              <a:buClr>
                <a:schemeClr val="accent1"/>
              </a:buClr>
              <a:buFont typeface="Arial" panose="020B0604020202020204" pitchFamily="34" charset="0"/>
              <a:buChar char="•"/>
              <a:defRPr sz="1600" baseline="0"/>
            </a:lvl4pPr>
            <a:lvl5pPr marL="2057400" indent="-228600">
              <a:lnSpc>
                <a:spcPct val="120000"/>
              </a:lnSpc>
              <a:spcBef>
                <a:spcPts val="500"/>
              </a:spcBef>
              <a:buClr>
                <a:schemeClr val="accent1"/>
              </a:buClr>
              <a:buFont typeface="Arial" panose="020B0604020202020204" pitchFamily="34" charset="0"/>
              <a:buChar char="•"/>
              <a:defRPr sz="16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dirty="0"/>
              <a:t>Partners Engaged</a:t>
            </a:r>
            <a:endParaRPr lang="en-US" dirty="0"/>
          </a:p>
        </p:txBody>
      </p:sp>
    </p:spTree>
    <p:extLst>
      <p:ext uri="{BB962C8B-B14F-4D97-AF65-F5344CB8AC3E}">
        <p14:creationId xmlns:p14="http://schemas.microsoft.com/office/powerpoint/2010/main" val="419039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ext Case Study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0C7AB-17FB-2E45-8A14-F90B3CEE6E6D}"/>
              </a:ext>
            </a:extLst>
          </p:cNvPr>
          <p:cNvSpPr>
            <a:spLocks noGrp="1"/>
          </p:cNvSpPr>
          <p:nvPr>
            <p:ph type="title"/>
          </p:nvPr>
        </p:nvSpPr>
        <p:spPr>
          <a:xfrm>
            <a:off x="360000" y="0"/>
            <a:ext cx="9648000" cy="1263600"/>
          </a:xfrm>
        </p:spPr>
        <p:txBody>
          <a:bodyPr anchor="ctr" anchorCtr="0">
            <a:normAutofit/>
          </a:bodyPr>
          <a:lstStyle>
            <a:lvl1pPr>
              <a:lnSpc>
                <a:spcPct val="100000"/>
              </a:lnSpc>
              <a:defRPr sz="2400" b="1" i="0" spc="-150" baseline="0">
                <a:solidFill>
                  <a:schemeClr val="tx1"/>
                </a:solidFill>
                <a:latin typeface="Arial Black" panose="020B0604020202020204" pitchFamily="34" charset="0"/>
                <a:cs typeface="Arial Black" panose="020B0604020202020204" pitchFamily="34" charset="0"/>
              </a:defRPr>
            </a:lvl1pPr>
          </a:lstStyle>
          <a:p>
            <a:r>
              <a:rPr lang="en-US"/>
              <a:t>Click to edit Master title style</a:t>
            </a:r>
            <a:endParaRPr lang="ar-SA" dirty="0"/>
          </a:p>
        </p:txBody>
      </p:sp>
      <p:sp>
        <p:nvSpPr>
          <p:cNvPr id="3" name="Slide Number Placeholder 2">
            <a:extLst>
              <a:ext uri="{FF2B5EF4-FFF2-40B4-BE49-F238E27FC236}">
                <a16:creationId xmlns:a16="http://schemas.microsoft.com/office/drawing/2014/main" id="{D44B9958-9D04-3F4A-A81F-8BA79836EFF0}"/>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8" name="Picture Placeholder 15">
            <a:extLst>
              <a:ext uri="{FF2B5EF4-FFF2-40B4-BE49-F238E27FC236}">
                <a16:creationId xmlns:a16="http://schemas.microsoft.com/office/drawing/2014/main" id="{AB8D3942-DD43-364C-9A77-FBC6C40762E4}"/>
              </a:ext>
            </a:extLst>
          </p:cNvPr>
          <p:cNvSpPr>
            <a:spLocks noGrp="1"/>
          </p:cNvSpPr>
          <p:nvPr>
            <p:ph type="pic" sz="quarter" idx="12"/>
          </p:nvPr>
        </p:nvSpPr>
        <p:spPr>
          <a:xfrm>
            <a:off x="10213939" y="0"/>
            <a:ext cx="1600000" cy="1263600"/>
          </a:xfrm>
        </p:spPr>
        <p:txBody>
          <a:bodyPr anchor="ctr" anchorCtr="0"/>
          <a:lstStyle>
            <a:lvl1pPr marL="0" indent="0" algn="r">
              <a:buNone/>
              <a:defRPr>
                <a:solidFill>
                  <a:schemeClr val="tx1"/>
                </a:solidFill>
              </a:defRPr>
            </a:lvl1pPr>
          </a:lstStyle>
          <a:p>
            <a:r>
              <a:rPr lang="en-US" dirty="0"/>
              <a:t>Click icon to add picture</a:t>
            </a:r>
          </a:p>
        </p:txBody>
      </p:sp>
      <p:sp>
        <p:nvSpPr>
          <p:cNvPr id="15" name="Rectangle 14">
            <a:extLst>
              <a:ext uri="{FF2B5EF4-FFF2-40B4-BE49-F238E27FC236}">
                <a16:creationId xmlns:a16="http://schemas.microsoft.com/office/drawing/2014/main" id="{488D16FF-04F3-CF4D-826E-036D95262513}"/>
              </a:ext>
            </a:extLst>
          </p:cNvPr>
          <p:cNvSpPr/>
          <p:nvPr userDrawn="1"/>
        </p:nvSpPr>
        <p:spPr>
          <a:xfrm>
            <a:off x="1" y="1260000"/>
            <a:ext cx="11833200" cy="5047200"/>
          </a:xfrm>
          <a:prstGeom prst="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en-US" dirty="0"/>
          </a:p>
        </p:txBody>
      </p:sp>
      <p:sp>
        <p:nvSpPr>
          <p:cNvPr id="16" name="ROBUST SANDBOX">
            <a:extLst>
              <a:ext uri="{FF2B5EF4-FFF2-40B4-BE49-F238E27FC236}">
                <a16:creationId xmlns:a16="http://schemas.microsoft.com/office/drawing/2014/main" id="{F02B94EE-1770-894C-9784-CF44654988C3}"/>
              </a:ext>
            </a:extLst>
          </p:cNvPr>
          <p:cNvSpPr txBox="1"/>
          <p:nvPr userDrawn="1"/>
        </p:nvSpPr>
        <p:spPr>
          <a:xfrm>
            <a:off x="4251600" y="1382400"/>
            <a:ext cx="3671999" cy="540000"/>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kumimoji="0" lang="en-US" b="1" u="none" strike="noStrike" kern="1200" cap="none" normalizeH="0" noProof="0" dirty="0">
                <a:ln>
                  <a:noFill/>
                </a:ln>
                <a:solidFill>
                  <a:schemeClr val="bg1"/>
                </a:solidFill>
                <a:effectLst/>
                <a:uLnTx/>
                <a:uFillTx/>
                <a:latin typeface="+mj-lt"/>
                <a:cs typeface="Arial Black" panose="020B0604020202020204" pitchFamily="34" charset="0"/>
              </a:rPr>
              <a:t>Solutions</a:t>
            </a:r>
          </a:p>
        </p:txBody>
      </p:sp>
      <p:sp>
        <p:nvSpPr>
          <p:cNvPr id="17" name="MODULAR">
            <a:extLst>
              <a:ext uri="{FF2B5EF4-FFF2-40B4-BE49-F238E27FC236}">
                <a16:creationId xmlns:a16="http://schemas.microsoft.com/office/drawing/2014/main" id="{8BB3C91B-CFB7-4048-B73A-10F6FB3F6810}"/>
              </a:ext>
            </a:extLst>
          </p:cNvPr>
          <p:cNvSpPr txBox="1"/>
          <p:nvPr userDrawn="1"/>
        </p:nvSpPr>
        <p:spPr>
          <a:xfrm>
            <a:off x="360000" y="1382400"/>
            <a:ext cx="3671999" cy="540000"/>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bg1"/>
                </a:solidFill>
                <a:latin typeface="+mj-lt"/>
                <a:cs typeface="Arial Black" panose="020B0604020202020204" pitchFamily="34" charset="0"/>
              </a:rPr>
              <a:t>Challenges</a:t>
            </a:r>
          </a:p>
        </p:txBody>
      </p:sp>
      <p:sp>
        <p:nvSpPr>
          <p:cNvPr id="18" name="ROBUST SANDBOX">
            <a:extLst>
              <a:ext uri="{FF2B5EF4-FFF2-40B4-BE49-F238E27FC236}">
                <a16:creationId xmlns:a16="http://schemas.microsoft.com/office/drawing/2014/main" id="{2BB39154-C0A6-4C46-B72F-40AF2E2BEF14}"/>
              </a:ext>
            </a:extLst>
          </p:cNvPr>
          <p:cNvSpPr txBox="1"/>
          <p:nvPr userDrawn="1"/>
        </p:nvSpPr>
        <p:spPr>
          <a:xfrm>
            <a:off x="8143200" y="1382103"/>
            <a:ext cx="3492000" cy="540000"/>
          </a:xfrm>
          <a:prstGeom prst="rect">
            <a:avLst/>
          </a:prstGeom>
          <a:noFill/>
          <a:ln>
            <a:no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bg1"/>
                </a:solidFill>
                <a:latin typeface="+mj-lt"/>
                <a:cs typeface="Arial Black" panose="020B0604020202020204" pitchFamily="34" charset="0"/>
              </a:rPr>
              <a:t>Outcomes</a:t>
            </a:r>
          </a:p>
        </p:txBody>
      </p:sp>
      <p:cxnSp>
        <p:nvCxnSpPr>
          <p:cNvPr id="19" name="Straight Connector 18">
            <a:extLst>
              <a:ext uri="{FF2B5EF4-FFF2-40B4-BE49-F238E27FC236}">
                <a16:creationId xmlns:a16="http://schemas.microsoft.com/office/drawing/2014/main" id="{070A8238-3A12-AF4B-96FA-C304AA8A4BD1}"/>
              </a:ext>
            </a:extLst>
          </p:cNvPr>
          <p:cNvCxnSpPr>
            <a:cxnSpLocks/>
          </p:cNvCxnSpPr>
          <p:nvPr userDrawn="1"/>
        </p:nvCxnSpPr>
        <p:spPr>
          <a:xfrm>
            <a:off x="360000" y="1900800"/>
            <a:ext cx="36720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4AF62ED-781B-DA4D-B4B9-754E608B9176}"/>
              </a:ext>
            </a:extLst>
          </p:cNvPr>
          <p:cNvCxnSpPr>
            <a:cxnSpLocks/>
          </p:cNvCxnSpPr>
          <p:nvPr userDrawn="1"/>
        </p:nvCxnSpPr>
        <p:spPr>
          <a:xfrm>
            <a:off x="4251600" y="1900800"/>
            <a:ext cx="36720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5E095EA-1565-244F-8BF5-58785C25BCA0}"/>
              </a:ext>
            </a:extLst>
          </p:cNvPr>
          <p:cNvCxnSpPr>
            <a:cxnSpLocks/>
          </p:cNvCxnSpPr>
          <p:nvPr userDrawn="1"/>
        </p:nvCxnSpPr>
        <p:spPr>
          <a:xfrm>
            <a:off x="8143200" y="1900800"/>
            <a:ext cx="34920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24">
            <a:extLst>
              <a:ext uri="{FF2B5EF4-FFF2-40B4-BE49-F238E27FC236}">
                <a16:creationId xmlns:a16="http://schemas.microsoft.com/office/drawing/2014/main" id="{1DB0952F-6F70-034C-8F43-2DB7A8735F07}"/>
              </a:ext>
            </a:extLst>
          </p:cNvPr>
          <p:cNvSpPr>
            <a:spLocks noGrp="1"/>
          </p:cNvSpPr>
          <p:nvPr>
            <p:ph type="body" sz="quarter" idx="14"/>
          </p:nvPr>
        </p:nvSpPr>
        <p:spPr>
          <a:xfrm>
            <a:off x="4251600" y="2102400"/>
            <a:ext cx="3675600" cy="3520794"/>
          </a:xfrm>
        </p:spPr>
        <p:txBody>
          <a:bodyPr>
            <a:normAutofit/>
          </a:bodyPr>
          <a:lstStyle>
            <a:lvl1pPr marL="172800" indent="-180000">
              <a:lnSpc>
                <a:spcPct val="110000"/>
              </a:lnSpc>
              <a:spcBef>
                <a:spcPts val="0"/>
              </a:spcBef>
              <a:spcAft>
                <a:spcPts val="1200"/>
              </a:spcAft>
              <a:buFont typeface="System Font Regular"/>
              <a:buChar char="\"/>
              <a:defRPr sz="1400">
                <a:solidFill>
                  <a:schemeClr val="bg1"/>
                </a:solidFill>
              </a:defRPr>
            </a:lvl1pPr>
            <a:lvl2pPr marL="360000" indent="0">
              <a:lnSpc>
                <a:spcPct val="110000"/>
              </a:lnSpc>
              <a:spcBef>
                <a:spcPts val="0"/>
              </a:spcBef>
              <a:spcAft>
                <a:spcPts val="1200"/>
              </a:spcAft>
              <a:buNone/>
              <a:defRPr sz="1400">
                <a:solidFill>
                  <a:schemeClr val="tx1"/>
                </a:solidFill>
              </a:defRPr>
            </a:lvl2pPr>
          </a:lstStyle>
          <a:p>
            <a:pPr lvl="0"/>
            <a:r>
              <a:rPr lang="en-US"/>
              <a:t>Click to edit Master text styles</a:t>
            </a:r>
          </a:p>
          <a:p>
            <a:pPr lvl="1"/>
            <a:r>
              <a:rPr lang="en-US"/>
              <a:t>Second level</a:t>
            </a:r>
          </a:p>
        </p:txBody>
      </p:sp>
      <p:sp>
        <p:nvSpPr>
          <p:cNvPr id="33" name="Text Placeholder 32">
            <a:extLst>
              <a:ext uri="{FF2B5EF4-FFF2-40B4-BE49-F238E27FC236}">
                <a16:creationId xmlns:a16="http://schemas.microsoft.com/office/drawing/2014/main" id="{7489F97D-53DB-BC4C-B10A-A5E67DCBB199}"/>
              </a:ext>
            </a:extLst>
          </p:cNvPr>
          <p:cNvSpPr>
            <a:spLocks noGrp="1"/>
          </p:cNvSpPr>
          <p:nvPr>
            <p:ph type="body" sz="quarter" idx="16" hasCustomPrompt="1"/>
          </p:nvPr>
        </p:nvSpPr>
        <p:spPr>
          <a:xfrm>
            <a:off x="8135999" y="2102400"/>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34" name="Text Placeholder 32">
            <a:extLst>
              <a:ext uri="{FF2B5EF4-FFF2-40B4-BE49-F238E27FC236}">
                <a16:creationId xmlns:a16="http://schemas.microsoft.com/office/drawing/2014/main" id="{6994B2F1-B396-4A42-BE92-7E3F83453F4A}"/>
              </a:ext>
            </a:extLst>
          </p:cNvPr>
          <p:cNvSpPr>
            <a:spLocks noGrp="1"/>
          </p:cNvSpPr>
          <p:nvPr>
            <p:ph type="body" sz="quarter" idx="17" hasCustomPrompt="1"/>
          </p:nvPr>
        </p:nvSpPr>
        <p:spPr>
          <a:xfrm>
            <a:off x="8136000" y="2484000"/>
            <a:ext cx="3492000" cy="360000"/>
          </a:xfrm>
          <a:solidFill>
            <a:schemeClr val="tx1">
              <a:lumMod val="90000"/>
              <a:lumOff val="10000"/>
            </a:schemeClr>
          </a:solidFill>
          <a:effectLst>
            <a:outerShdw dist="12700" dir="5400000" algn="t" rotWithShape="0">
              <a:schemeClr val="tx1">
                <a:lumMod val="75000"/>
                <a:lumOff val="25000"/>
              </a:schemeClr>
            </a:outerShdw>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11" name="Text Placeholder 10">
            <a:extLst>
              <a:ext uri="{FF2B5EF4-FFF2-40B4-BE49-F238E27FC236}">
                <a16:creationId xmlns:a16="http://schemas.microsoft.com/office/drawing/2014/main" id="{33185859-63E4-5149-AA93-07B443766151}"/>
              </a:ext>
            </a:extLst>
          </p:cNvPr>
          <p:cNvSpPr>
            <a:spLocks noGrp="1"/>
          </p:cNvSpPr>
          <p:nvPr>
            <p:ph type="body" sz="quarter" idx="28"/>
          </p:nvPr>
        </p:nvSpPr>
        <p:spPr>
          <a:xfrm>
            <a:off x="358775" y="2101851"/>
            <a:ext cx="3675600" cy="3520789"/>
          </a:xfrm>
          <a:ln>
            <a:noFill/>
          </a:ln>
        </p:spPr>
        <p:txBody>
          <a:bodyPr>
            <a:normAutofit/>
          </a:bodyPr>
          <a:lstStyle>
            <a:lvl1pPr marL="172800" indent="-180000">
              <a:lnSpc>
                <a:spcPct val="110000"/>
              </a:lnSpc>
              <a:spcBef>
                <a:spcPts val="0"/>
              </a:spcBef>
              <a:spcAft>
                <a:spcPts val="1200"/>
              </a:spcAft>
              <a:buFont typeface="System Font Regular"/>
              <a:buChar char="\"/>
              <a:defRPr sz="1400">
                <a:solidFill>
                  <a:schemeClr val="bg1"/>
                </a:solidFill>
              </a:defRPr>
            </a:lvl1pPr>
            <a:lvl2pPr marL="172800">
              <a:lnSpc>
                <a:spcPct val="110000"/>
              </a:lnSpc>
              <a:spcBef>
                <a:spcPts val="0"/>
              </a:spcBef>
              <a:spcAft>
                <a:spcPts val="1200"/>
              </a:spcAft>
              <a:defRPr sz="1400">
                <a:solidFill>
                  <a:schemeClr val="tx1"/>
                </a:solidFill>
              </a:defRPr>
            </a:lvl2pPr>
            <a:lvl3pPr marL="172800">
              <a:lnSpc>
                <a:spcPct val="110000"/>
              </a:lnSpc>
              <a:spcBef>
                <a:spcPts val="0"/>
              </a:spcBef>
              <a:spcAft>
                <a:spcPts val="1200"/>
              </a:spcAft>
              <a:defRPr sz="1400">
                <a:solidFill>
                  <a:schemeClr val="tx1"/>
                </a:solidFill>
              </a:defRPr>
            </a:lvl3pPr>
            <a:lvl4pPr marL="172800">
              <a:lnSpc>
                <a:spcPct val="110000"/>
              </a:lnSpc>
              <a:spcBef>
                <a:spcPts val="0"/>
              </a:spcBef>
              <a:spcAft>
                <a:spcPts val="1200"/>
              </a:spcAft>
              <a:defRPr sz="1400">
                <a:solidFill>
                  <a:schemeClr val="tx1"/>
                </a:solidFill>
              </a:defRPr>
            </a:lvl4pPr>
            <a:lvl5pPr marL="172800">
              <a:lnSpc>
                <a:spcPct val="110000"/>
              </a:lnSpc>
              <a:spcBef>
                <a:spcPts val="0"/>
              </a:spcBef>
              <a:spcAft>
                <a:spcPts val="1200"/>
              </a:spcAft>
              <a:defRPr sz="1400">
                <a:solidFill>
                  <a:schemeClr val="tx1"/>
                </a:solidFill>
              </a:defRPr>
            </a:lvl5pPr>
          </a:lstStyle>
          <a:p>
            <a:pPr lvl="0"/>
            <a:r>
              <a:rPr lang="en-US"/>
              <a:t>Click to edit Master text styles</a:t>
            </a:r>
          </a:p>
        </p:txBody>
      </p:sp>
      <p:sp>
        <p:nvSpPr>
          <p:cNvPr id="31" name="Text Placeholder 32">
            <a:extLst>
              <a:ext uri="{FF2B5EF4-FFF2-40B4-BE49-F238E27FC236}">
                <a16:creationId xmlns:a16="http://schemas.microsoft.com/office/drawing/2014/main" id="{C7EBB505-C4E7-C141-876F-C91DD9CF9185}"/>
              </a:ext>
            </a:extLst>
          </p:cNvPr>
          <p:cNvSpPr>
            <a:spLocks noGrp="1"/>
          </p:cNvSpPr>
          <p:nvPr>
            <p:ph type="body" sz="quarter" idx="29" hasCustomPrompt="1"/>
          </p:nvPr>
        </p:nvSpPr>
        <p:spPr>
          <a:xfrm>
            <a:off x="8135999" y="3025774"/>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32" name="Text Placeholder 32">
            <a:extLst>
              <a:ext uri="{FF2B5EF4-FFF2-40B4-BE49-F238E27FC236}">
                <a16:creationId xmlns:a16="http://schemas.microsoft.com/office/drawing/2014/main" id="{2EC21501-A3C3-1341-A861-7D403C55D4AF}"/>
              </a:ext>
            </a:extLst>
          </p:cNvPr>
          <p:cNvSpPr>
            <a:spLocks noGrp="1"/>
          </p:cNvSpPr>
          <p:nvPr>
            <p:ph type="body" sz="quarter" idx="30" hasCustomPrompt="1"/>
          </p:nvPr>
        </p:nvSpPr>
        <p:spPr>
          <a:xfrm>
            <a:off x="8136000" y="3407374"/>
            <a:ext cx="3492000" cy="360000"/>
          </a:xfrm>
          <a:solidFill>
            <a:schemeClr val="tx1">
              <a:lumMod val="90000"/>
              <a:lumOff val="10000"/>
            </a:schemeClr>
          </a:solidFill>
          <a:effectLst>
            <a:outerShdw dist="12700" dir="5400000" algn="t" rotWithShape="0">
              <a:schemeClr val="tx1">
                <a:lumMod val="75000"/>
                <a:lumOff val="25000"/>
              </a:schemeClr>
            </a:outerShdw>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42" name="Text Placeholder 32">
            <a:extLst>
              <a:ext uri="{FF2B5EF4-FFF2-40B4-BE49-F238E27FC236}">
                <a16:creationId xmlns:a16="http://schemas.microsoft.com/office/drawing/2014/main" id="{0199B378-CEF8-354D-8A0D-E490C5D661D7}"/>
              </a:ext>
            </a:extLst>
          </p:cNvPr>
          <p:cNvSpPr>
            <a:spLocks noGrp="1"/>
          </p:cNvSpPr>
          <p:nvPr>
            <p:ph type="body" sz="quarter" idx="31" hasCustomPrompt="1"/>
          </p:nvPr>
        </p:nvSpPr>
        <p:spPr>
          <a:xfrm>
            <a:off x="8135999" y="3949498"/>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43" name="Text Placeholder 32">
            <a:extLst>
              <a:ext uri="{FF2B5EF4-FFF2-40B4-BE49-F238E27FC236}">
                <a16:creationId xmlns:a16="http://schemas.microsoft.com/office/drawing/2014/main" id="{863606CD-FE7E-8D42-9594-8929842EABBD}"/>
              </a:ext>
            </a:extLst>
          </p:cNvPr>
          <p:cNvSpPr>
            <a:spLocks noGrp="1"/>
          </p:cNvSpPr>
          <p:nvPr>
            <p:ph type="body" sz="quarter" idx="32" hasCustomPrompt="1"/>
          </p:nvPr>
        </p:nvSpPr>
        <p:spPr>
          <a:xfrm>
            <a:off x="8136000" y="4331098"/>
            <a:ext cx="3492000" cy="360000"/>
          </a:xfrm>
          <a:solidFill>
            <a:schemeClr val="tx1">
              <a:lumMod val="90000"/>
              <a:lumOff val="10000"/>
            </a:schemeClr>
          </a:solidFill>
          <a:effectLst>
            <a:outerShdw dist="12700" dir="5400000" algn="t" rotWithShape="0">
              <a:schemeClr val="tx1">
                <a:lumMod val="75000"/>
                <a:lumOff val="25000"/>
              </a:schemeClr>
            </a:outerShdw>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44" name="Text Placeholder 32">
            <a:extLst>
              <a:ext uri="{FF2B5EF4-FFF2-40B4-BE49-F238E27FC236}">
                <a16:creationId xmlns:a16="http://schemas.microsoft.com/office/drawing/2014/main" id="{0FC99C4E-81D7-6743-8425-24F8A8DBCA3C}"/>
              </a:ext>
            </a:extLst>
          </p:cNvPr>
          <p:cNvSpPr>
            <a:spLocks noGrp="1"/>
          </p:cNvSpPr>
          <p:nvPr>
            <p:ph type="body" sz="quarter" idx="33" hasCustomPrompt="1"/>
          </p:nvPr>
        </p:nvSpPr>
        <p:spPr>
          <a:xfrm>
            <a:off x="8135999" y="4885768"/>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dirty="0"/>
              <a:t>Datapoint</a:t>
            </a:r>
          </a:p>
        </p:txBody>
      </p:sp>
      <p:sp>
        <p:nvSpPr>
          <p:cNvPr id="45" name="Text Placeholder 32">
            <a:extLst>
              <a:ext uri="{FF2B5EF4-FFF2-40B4-BE49-F238E27FC236}">
                <a16:creationId xmlns:a16="http://schemas.microsoft.com/office/drawing/2014/main" id="{4BD33E9A-855E-BB44-9773-831855D8F054}"/>
              </a:ext>
            </a:extLst>
          </p:cNvPr>
          <p:cNvSpPr>
            <a:spLocks noGrp="1"/>
          </p:cNvSpPr>
          <p:nvPr>
            <p:ph type="body" sz="quarter" idx="34" hasCustomPrompt="1"/>
          </p:nvPr>
        </p:nvSpPr>
        <p:spPr>
          <a:xfrm>
            <a:off x="8136000" y="5267368"/>
            <a:ext cx="3492000" cy="360000"/>
          </a:xfrm>
          <a:solidFill>
            <a:schemeClr val="tx1">
              <a:lumMod val="90000"/>
              <a:lumOff val="10000"/>
            </a:schemeClr>
          </a:solidFill>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dirty="0"/>
              <a:t>text</a:t>
            </a:r>
          </a:p>
        </p:txBody>
      </p:sp>
      <p:sp>
        <p:nvSpPr>
          <p:cNvPr id="4" name="Rectangle 3">
            <a:extLst>
              <a:ext uri="{FF2B5EF4-FFF2-40B4-BE49-F238E27FC236}">
                <a16:creationId xmlns:a16="http://schemas.microsoft.com/office/drawing/2014/main" id="{4B806FA8-333A-F847-AF8F-F6BED2A9AD6B}"/>
              </a:ext>
            </a:extLst>
          </p:cNvPr>
          <p:cNvSpPr/>
          <p:nvPr userDrawn="1"/>
        </p:nvSpPr>
        <p:spPr>
          <a:xfrm>
            <a:off x="-1" y="5824538"/>
            <a:ext cx="11832001" cy="504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30" name="Text Placeholder 9">
            <a:extLst>
              <a:ext uri="{FF2B5EF4-FFF2-40B4-BE49-F238E27FC236}">
                <a16:creationId xmlns:a16="http://schemas.microsoft.com/office/drawing/2014/main" id="{2B9A871F-332D-FF45-A446-DB1F3DE728DA}"/>
              </a:ext>
            </a:extLst>
          </p:cNvPr>
          <p:cNvSpPr>
            <a:spLocks noGrp="1"/>
          </p:cNvSpPr>
          <p:nvPr>
            <p:ph type="body" sz="quarter" idx="37" hasCustomPrompt="1"/>
          </p:nvPr>
        </p:nvSpPr>
        <p:spPr>
          <a:xfrm>
            <a:off x="1706400" y="5824538"/>
            <a:ext cx="4428000" cy="504000"/>
          </a:xfrm>
        </p:spPr>
        <p:txBody>
          <a:bodyPr anchor="ctr">
            <a:normAutofit/>
          </a:bodyPr>
          <a:lstStyle>
            <a:lvl1pPr marL="0" indent="0">
              <a:buNone/>
              <a:defRPr sz="1200" b="1">
                <a:solidFill>
                  <a:schemeClr val="tx1"/>
                </a:solidFill>
              </a:defRPr>
            </a:lvl1pPr>
            <a:lvl2pPr marL="360000" indent="0">
              <a:buNone/>
              <a:defRPr sz="1200" b="1">
                <a:solidFill>
                  <a:schemeClr val="tx1"/>
                </a:solidFill>
              </a:defRPr>
            </a:lvl2pPr>
            <a:lvl3pPr marL="914400" indent="0">
              <a:buFont typeface="Arial" panose="020B0604020202020204" pitchFamily="34" charset="0"/>
              <a:buNone/>
              <a:defRPr sz="1200" b="1">
                <a:solidFill>
                  <a:schemeClr val="tx1"/>
                </a:solidFill>
              </a:defRPr>
            </a:lvl3pPr>
            <a:lvl4pPr marL="1371600" indent="0">
              <a:buNone/>
              <a:defRPr sz="1200" b="1">
                <a:solidFill>
                  <a:schemeClr val="tx1"/>
                </a:solidFill>
              </a:defRPr>
            </a:lvl4pPr>
            <a:lvl5pPr marL="1828800" indent="0">
              <a:buNone/>
              <a:defRPr sz="1200" b="1">
                <a:solidFill>
                  <a:schemeClr val="tx1"/>
                </a:solidFill>
              </a:defRPr>
            </a:lvl5pPr>
          </a:lstStyle>
          <a:p>
            <a:pPr lvl="0"/>
            <a:r>
              <a:rPr lang="en-US" dirty="0"/>
              <a:t>Enter technologies separated \ by \ backward \ slashes </a:t>
            </a:r>
          </a:p>
        </p:txBody>
      </p:sp>
      <p:sp>
        <p:nvSpPr>
          <p:cNvPr id="35" name="Text Placeholder 9">
            <a:extLst>
              <a:ext uri="{FF2B5EF4-FFF2-40B4-BE49-F238E27FC236}">
                <a16:creationId xmlns:a16="http://schemas.microsoft.com/office/drawing/2014/main" id="{325205FF-6898-A045-8EBC-C3EC174CC5F0}"/>
              </a:ext>
            </a:extLst>
          </p:cNvPr>
          <p:cNvSpPr>
            <a:spLocks noGrp="1"/>
          </p:cNvSpPr>
          <p:nvPr>
            <p:ph type="body" sz="quarter" idx="38" hasCustomPrompt="1"/>
          </p:nvPr>
        </p:nvSpPr>
        <p:spPr>
          <a:xfrm>
            <a:off x="7594994" y="5824538"/>
            <a:ext cx="4237006" cy="504000"/>
          </a:xfrm>
        </p:spPr>
        <p:txBody>
          <a:bodyPr anchor="ctr">
            <a:normAutofit/>
          </a:bodyPr>
          <a:lstStyle>
            <a:lvl1pPr marL="0" indent="0">
              <a:buNone/>
              <a:defRPr sz="1200" b="1">
                <a:solidFill>
                  <a:schemeClr val="tx1"/>
                </a:solidFill>
              </a:defRPr>
            </a:lvl1pPr>
            <a:lvl2pPr marL="360000" indent="0">
              <a:buNone/>
              <a:defRPr sz="1200" b="1">
                <a:solidFill>
                  <a:schemeClr val="tx1"/>
                </a:solidFill>
              </a:defRPr>
            </a:lvl2pPr>
            <a:lvl3pPr marL="914400" indent="0">
              <a:buFont typeface="Arial" panose="020B0604020202020204" pitchFamily="34" charset="0"/>
              <a:buNone/>
              <a:defRPr sz="1200" b="1">
                <a:solidFill>
                  <a:schemeClr val="tx1"/>
                </a:solidFill>
              </a:defRPr>
            </a:lvl3pPr>
            <a:lvl4pPr marL="1371600" indent="0">
              <a:buNone/>
              <a:defRPr sz="1200" b="1">
                <a:solidFill>
                  <a:schemeClr val="tx1"/>
                </a:solidFill>
              </a:defRPr>
            </a:lvl4pPr>
            <a:lvl5pPr marL="1828800" indent="0">
              <a:buNone/>
              <a:defRPr sz="1200" b="1">
                <a:solidFill>
                  <a:schemeClr val="tx1"/>
                </a:solidFill>
              </a:defRPr>
            </a:lvl5pPr>
          </a:lstStyle>
          <a:p>
            <a:pPr lvl="0"/>
            <a:r>
              <a:rPr lang="en-US" dirty="0"/>
              <a:t>Enter technologies separated \ by \ backward \ slashes </a:t>
            </a:r>
          </a:p>
        </p:txBody>
      </p:sp>
      <p:sp>
        <p:nvSpPr>
          <p:cNvPr id="36" name="MODULAR">
            <a:extLst>
              <a:ext uri="{FF2B5EF4-FFF2-40B4-BE49-F238E27FC236}">
                <a16:creationId xmlns:a16="http://schemas.microsoft.com/office/drawing/2014/main" id="{3C464BE0-2314-0F4E-9CA8-F06BA40A5E53}"/>
              </a:ext>
            </a:extLst>
          </p:cNvPr>
          <p:cNvSpPr txBox="1"/>
          <p:nvPr userDrawn="1"/>
        </p:nvSpPr>
        <p:spPr>
          <a:xfrm>
            <a:off x="0" y="5824539"/>
            <a:ext cx="1692000" cy="503999"/>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lIns="0" tIns="0" rIns="72000" bIns="0" rtlCol="0" anchor="ctr" anchorCtr="0">
            <a:normAutofit/>
          </a:bodyPr>
          <a:lstStyle>
            <a:defPPr marR="0" lvl="0" algn="l" rtl="0">
              <a:lnSpc>
                <a:spcPct val="100000"/>
              </a:lnSpc>
              <a:spcBef>
                <a:spcPts val="0"/>
              </a:spcBef>
              <a:spcAft>
                <a:spcPts val="0"/>
              </a:spcAft>
              <a:defRPr/>
            </a:defPPr>
            <a:lvl1pPr lvl="0" indent="0" algn="r">
              <a:lnSpc>
                <a:spcPct val="120000"/>
              </a:lnSpc>
              <a:spcBef>
                <a:spcPts val="1200"/>
              </a:spcBef>
              <a:buClr>
                <a:schemeClr val="accent1"/>
              </a:buClr>
              <a:buFont typeface="Arial" panose="020B0604020202020204" pitchFamily="34" charset="0"/>
              <a:buNone/>
              <a:defRPr lang="en-US" sz="1200" baseline="0" dirty="0" smtClean="0">
                <a:solidFill>
                  <a:schemeClr val="tx2">
                    <a:lumMod val="60000"/>
                    <a:lumOff val="40000"/>
                  </a:schemeClr>
                </a:solidFill>
              </a:defRPr>
            </a:lvl1pPr>
            <a:lvl2pPr marL="540000" indent="-180000">
              <a:lnSpc>
                <a:spcPct val="120000"/>
              </a:lnSpc>
              <a:spcBef>
                <a:spcPts val="500"/>
              </a:spcBef>
              <a:buClr>
                <a:schemeClr val="accent1"/>
              </a:buClr>
              <a:buFont typeface="System Font Regular"/>
              <a:buChar char="-"/>
              <a:defRPr lang="en-US" sz="1600" baseline="0" dirty="0" smtClean="0">
                <a:solidFill>
                  <a:schemeClr val="bg2"/>
                </a:solidFill>
              </a:defRPr>
            </a:lvl2pPr>
            <a:lvl3pPr indent="0">
              <a:lnSpc>
                <a:spcPct val="120000"/>
              </a:lnSpc>
              <a:spcBef>
                <a:spcPts val="500"/>
              </a:spcBef>
              <a:buClr>
                <a:schemeClr val="accent1"/>
              </a:buClr>
              <a:buFont typeface="Arial" panose="020B0604020202020204" pitchFamily="34" charset="0"/>
              <a:buNone/>
              <a:defRPr sz="1600" baseline="0"/>
            </a:lvl3pPr>
            <a:lvl4pPr marL="1600200" indent="-228600">
              <a:lnSpc>
                <a:spcPct val="120000"/>
              </a:lnSpc>
              <a:spcBef>
                <a:spcPts val="500"/>
              </a:spcBef>
              <a:buClr>
                <a:schemeClr val="accent1"/>
              </a:buClr>
              <a:buFont typeface="Arial" panose="020B0604020202020204" pitchFamily="34" charset="0"/>
              <a:buChar char="•"/>
              <a:defRPr sz="1600" baseline="0"/>
            </a:lvl4pPr>
            <a:lvl5pPr marL="2057400" indent="-228600">
              <a:lnSpc>
                <a:spcPct val="120000"/>
              </a:lnSpc>
              <a:spcBef>
                <a:spcPts val="500"/>
              </a:spcBef>
              <a:buClr>
                <a:schemeClr val="accent1"/>
              </a:buClr>
              <a:buFont typeface="Arial" panose="020B0604020202020204" pitchFamily="34" charset="0"/>
              <a:buChar char="•"/>
              <a:defRPr sz="16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dirty="0"/>
              <a:t>Technologies Used</a:t>
            </a:r>
            <a:endParaRPr lang="en-US" dirty="0"/>
          </a:p>
        </p:txBody>
      </p:sp>
      <p:sp>
        <p:nvSpPr>
          <p:cNvPr id="37" name="MODULAR">
            <a:extLst>
              <a:ext uri="{FF2B5EF4-FFF2-40B4-BE49-F238E27FC236}">
                <a16:creationId xmlns:a16="http://schemas.microsoft.com/office/drawing/2014/main" id="{7CDD2607-AE43-D348-88C5-272D2D57A92B}"/>
              </a:ext>
            </a:extLst>
          </p:cNvPr>
          <p:cNvSpPr txBox="1"/>
          <p:nvPr userDrawn="1"/>
        </p:nvSpPr>
        <p:spPr>
          <a:xfrm>
            <a:off x="6134399" y="5824539"/>
            <a:ext cx="1459393" cy="503999"/>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horz" lIns="0" tIns="0" rIns="72000" bIns="0" rtlCol="0" anchor="ctr" anchorCtr="0">
            <a:normAutofit/>
          </a:bodyPr>
          <a:lstStyle>
            <a:defPPr marR="0" lvl="0" algn="l" rtl="0">
              <a:lnSpc>
                <a:spcPct val="100000"/>
              </a:lnSpc>
              <a:spcBef>
                <a:spcPts val="0"/>
              </a:spcBef>
              <a:spcAft>
                <a:spcPts val="0"/>
              </a:spcAft>
              <a:defRPr/>
            </a:defPPr>
            <a:lvl1pPr lvl="0" indent="0" algn="r">
              <a:lnSpc>
                <a:spcPct val="120000"/>
              </a:lnSpc>
              <a:spcBef>
                <a:spcPts val="1200"/>
              </a:spcBef>
              <a:buClr>
                <a:schemeClr val="accent1"/>
              </a:buClr>
              <a:buFont typeface="Arial" panose="020B0604020202020204" pitchFamily="34" charset="0"/>
              <a:buNone/>
              <a:defRPr lang="en-US" sz="1200" baseline="0" dirty="0" smtClean="0">
                <a:solidFill>
                  <a:schemeClr val="tx2">
                    <a:lumMod val="60000"/>
                    <a:lumOff val="40000"/>
                  </a:schemeClr>
                </a:solidFill>
              </a:defRPr>
            </a:lvl1pPr>
            <a:lvl2pPr marL="540000" indent="-180000">
              <a:lnSpc>
                <a:spcPct val="120000"/>
              </a:lnSpc>
              <a:spcBef>
                <a:spcPts val="500"/>
              </a:spcBef>
              <a:buClr>
                <a:schemeClr val="accent1"/>
              </a:buClr>
              <a:buFont typeface="System Font Regular"/>
              <a:buChar char="-"/>
              <a:defRPr lang="en-US" sz="1600" baseline="0" dirty="0" smtClean="0">
                <a:solidFill>
                  <a:schemeClr val="bg2"/>
                </a:solidFill>
              </a:defRPr>
            </a:lvl2pPr>
            <a:lvl3pPr indent="0">
              <a:lnSpc>
                <a:spcPct val="120000"/>
              </a:lnSpc>
              <a:spcBef>
                <a:spcPts val="500"/>
              </a:spcBef>
              <a:buClr>
                <a:schemeClr val="accent1"/>
              </a:buClr>
              <a:buFont typeface="Arial" panose="020B0604020202020204" pitchFamily="34" charset="0"/>
              <a:buNone/>
              <a:defRPr sz="1600" baseline="0"/>
            </a:lvl3pPr>
            <a:lvl4pPr marL="1600200" indent="-228600">
              <a:lnSpc>
                <a:spcPct val="120000"/>
              </a:lnSpc>
              <a:spcBef>
                <a:spcPts val="500"/>
              </a:spcBef>
              <a:buClr>
                <a:schemeClr val="accent1"/>
              </a:buClr>
              <a:buFont typeface="Arial" panose="020B0604020202020204" pitchFamily="34" charset="0"/>
              <a:buChar char="•"/>
              <a:defRPr sz="1600" baseline="0"/>
            </a:lvl4pPr>
            <a:lvl5pPr marL="2057400" indent="-228600">
              <a:lnSpc>
                <a:spcPct val="120000"/>
              </a:lnSpc>
              <a:spcBef>
                <a:spcPts val="500"/>
              </a:spcBef>
              <a:buClr>
                <a:schemeClr val="accent1"/>
              </a:buClr>
              <a:buFont typeface="Arial" panose="020B0604020202020204" pitchFamily="34" charset="0"/>
              <a:buChar char="•"/>
              <a:defRPr sz="160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dirty="0"/>
              <a:t>Partners Engaged</a:t>
            </a:r>
            <a:endParaRPr lang="en-US" dirty="0"/>
          </a:p>
        </p:txBody>
      </p:sp>
    </p:spTree>
    <p:extLst>
      <p:ext uri="{BB962C8B-B14F-4D97-AF65-F5344CB8AC3E}">
        <p14:creationId xmlns:p14="http://schemas.microsoft.com/office/powerpoint/2010/main" val="1439348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tyle 1) Content &amp; Image" preserve="1">
  <p:cSld name="(Style 1) Content &amp; Image">
    <p:spTree>
      <p:nvGrpSpPr>
        <p:cNvPr id="1" name="Shape 107"/>
        <p:cNvGrpSpPr/>
        <p:nvPr/>
      </p:nvGrpSpPr>
      <p:grpSpPr>
        <a:xfrm>
          <a:off x="0" y="0"/>
          <a:ext cx="0" cy="0"/>
          <a:chOff x="0" y="0"/>
          <a:chExt cx="0" cy="0"/>
        </a:xfrm>
      </p:grpSpPr>
      <p:sp>
        <p:nvSpPr>
          <p:cNvPr id="108" name="Google Shape;108;p86"/>
          <p:cNvSpPr>
            <a:spLocks noGrp="1"/>
          </p:cNvSpPr>
          <p:nvPr>
            <p:ph type="pic" idx="2"/>
          </p:nvPr>
        </p:nvSpPr>
        <p:spPr>
          <a:xfrm>
            <a:off x="6095999" y="0"/>
            <a:ext cx="6095999" cy="6858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09" name="Google Shape;109;p86"/>
          <p:cNvSpPr txBox="1">
            <a:spLocks noGrp="1"/>
          </p:cNvSpPr>
          <p:nvPr>
            <p:ph type="title"/>
          </p:nvPr>
        </p:nvSpPr>
        <p:spPr>
          <a:xfrm>
            <a:off x="360000"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 name="Google Shape;110;p86"/>
          <p:cNvSpPr txBox="1">
            <a:spLocks noGrp="1"/>
          </p:cNvSpPr>
          <p:nvPr>
            <p:ph type="body" idx="1"/>
          </p:nvPr>
        </p:nvSpPr>
        <p:spPr>
          <a:xfrm>
            <a:off x="360000" y="1080000"/>
            <a:ext cx="540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 name="Google Shape;111;p86"/>
          <p:cNvSpPr txBox="1">
            <a:spLocks noGrp="1"/>
          </p:cNvSpPr>
          <p:nvPr>
            <p:ph type="sldNum" idx="12"/>
          </p:nvPr>
        </p:nvSpPr>
        <p:spPr>
          <a:xfrm>
            <a:off x="3016800" y="622740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800">
                <a:solidFill>
                  <a:schemeClr val="accent5"/>
                </a:solidFill>
                <a:latin typeface="Arial"/>
                <a:ea typeface="Arial"/>
                <a:cs typeface="Arial"/>
                <a:sym typeface="Arial"/>
              </a:defRPr>
            </a:lvl1pPr>
            <a:lvl2pPr marL="0" lvl="1" indent="0" algn="r">
              <a:spcBef>
                <a:spcPts val="0"/>
              </a:spcBef>
              <a:buNone/>
              <a:defRPr sz="800">
                <a:solidFill>
                  <a:schemeClr val="accent5"/>
                </a:solidFill>
                <a:latin typeface="Arial"/>
                <a:ea typeface="Arial"/>
                <a:cs typeface="Arial"/>
                <a:sym typeface="Arial"/>
              </a:defRPr>
            </a:lvl2pPr>
            <a:lvl3pPr marL="0" lvl="2" indent="0" algn="r">
              <a:spcBef>
                <a:spcPts val="0"/>
              </a:spcBef>
              <a:buNone/>
              <a:defRPr sz="800">
                <a:solidFill>
                  <a:schemeClr val="accent5"/>
                </a:solidFill>
                <a:latin typeface="Arial"/>
                <a:ea typeface="Arial"/>
                <a:cs typeface="Arial"/>
                <a:sym typeface="Arial"/>
              </a:defRPr>
            </a:lvl3pPr>
            <a:lvl4pPr marL="0" lvl="3" indent="0" algn="r">
              <a:spcBef>
                <a:spcPts val="0"/>
              </a:spcBef>
              <a:buNone/>
              <a:defRPr sz="800">
                <a:solidFill>
                  <a:schemeClr val="accent5"/>
                </a:solidFill>
                <a:latin typeface="Arial"/>
                <a:ea typeface="Arial"/>
                <a:cs typeface="Arial"/>
                <a:sym typeface="Arial"/>
              </a:defRPr>
            </a:lvl4pPr>
            <a:lvl5pPr marL="0" lvl="4" indent="0" algn="r">
              <a:spcBef>
                <a:spcPts val="0"/>
              </a:spcBef>
              <a:buNone/>
              <a:defRPr sz="800">
                <a:solidFill>
                  <a:schemeClr val="accent5"/>
                </a:solidFill>
                <a:latin typeface="Arial"/>
                <a:ea typeface="Arial"/>
                <a:cs typeface="Arial"/>
                <a:sym typeface="Arial"/>
              </a:defRPr>
            </a:lvl5pPr>
            <a:lvl6pPr marL="0" lvl="5" indent="0" algn="r">
              <a:spcBef>
                <a:spcPts val="0"/>
              </a:spcBef>
              <a:buNone/>
              <a:defRPr sz="800">
                <a:solidFill>
                  <a:schemeClr val="accent5"/>
                </a:solidFill>
                <a:latin typeface="Arial"/>
                <a:ea typeface="Arial"/>
                <a:cs typeface="Arial"/>
                <a:sym typeface="Arial"/>
              </a:defRPr>
            </a:lvl6pPr>
            <a:lvl7pPr marL="0" lvl="6" indent="0" algn="r">
              <a:spcBef>
                <a:spcPts val="0"/>
              </a:spcBef>
              <a:buNone/>
              <a:defRPr sz="800">
                <a:solidFill>
                  <a:schemeClr val="accent5"/>
                </a:solidFill>
                <a:latin typeface="Arial"/>
                <a:ea typeface="Arial"/>
                <a:cs typeface="Arial"/>
                <a:sym typeface="Arial"/>
              </a:defRPr>
            </a:lvl7pPr>
            <a:lvl8pPr marL="0" lvl="7" indent="0" algn="r">
              <a:spcBef>
                <a:spcPts val="0"/>
              </a:spcBef>
              <a:buNone/>
              <a:defRPr sz="800">
                <a:solidFill>
                  <a:schemeClr val="accent5"/>
                </a:solidFill>
                <a:latin typeface="Arial"/>
                <a:ea typeface="Arial"/>
                <a:cs typeface="Arial"/>
                <a:sym typeface="Arial"/>
              </a:defRPr>
            </a:lvl8pPr>
            <a:lvl9pPr marL="0" lvl="8" indent="0" algn="r">
              <a:spcBef>
                <a:spcPts val="0"/>
              </a:spcBef>
              <a:buNone/>
              <a:defRPr sz="800">
                <a:solidFill>
                  <a:schemeClr val="accent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8603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Photo Caption Small">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F3629D0B-0309-F24F-BAE9-D5FE74D3FCCA}"/>
              </a:ext>
            </a:extLst>
          </p:cNvPr>
          <p:cNvSpPr>
            <a:spLocks noGrp="1"/>
          </p:cNvSpPr>
          <p:nvPr>
            <p:ph type="body" sz="quarter" idx="14" hasCustomPrompt="1"/>
          </p:nvPr>
        </p:nvSpPr>
        <p:spPr>
          <a:xfrm>
            <a:off x="0" y="6317999"/>
            <a:ext cx="6091200" cy="540000"/>
          </a:xfrm>
          <a:solidFill>
            <a:schemeClr val="tx1">
              <a:lumMod val="90000"/>
              <a:lumOff val="10000"/>
            </a:schemeClr>
          </a:solidFill>
        </p:spPr>
        <p:txBody>
          <a:bodyPr lIns="360000" tIns="0" rIns="360000" bIns="0" anchor="ctr" anchorCtr="0">
            <a:noAutofit/>
          </a:bodyPr>
          <a:lstStyle>
            <a:lvl1pPr marL="0" indent="0">
              <a:buNone/>
              <a:defRPr sz="1400" b="1" i="0">
                <a:solidFill>
                  <a:schemeClr val="bg2"/>
                </a:solidFill>
                <a:latin typeface="+mn-lt"/>
                <a:cs typeface="Arial Black" panose="020B0604020202020204" pitchFamily="34" charset="0"/>
              </a:defRPr>
            </a:lvl1pPr>
          </a:lstStyle>
          <a:p>
            <a:pPr lvl="0"/>
            <a:r>
              <a:rPr lang="en-US" dirty="0"/>
              <a:t>This is the caption for the photo</a:t>
            </a:r>
            <a:endParaRPr lang="ar-SA" dirty="0"/>
          </a:p>
        </p:txBody>
      </p:sp>
    </p:spTree>
    <p:extLst>
      <p:ext uri="{BB962C8B-B14F-4D97-AF65-F5344CB8AC3E}">
        <p14:creationId xmlns:p14="http://schemas.microsoft.com/office/powerpoint/2010/main" val="1875768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57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Photo Caption Lar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5D042E7-B615-9A44-A103-7A5EF0739A59}"/>
              </a:ext>
            </a:extLst>
          </p:cNvPr>
          <p:cNvSpPr>
            <a:spLocks noGrp="1"/>
          </p:cNvSpPr>
          <p:nvPr>
            <p:ph type="pic" sz="quarter" idx="15"/>
          </p:nvPr>
        </p:nvSpPr>
        <p:spPr>
          <a:xfrm>
            <a:off x="0" y="0"/>
            <a:ext cx="12192000" cy="6858000"/>
          </a:xfrm>
          <a:noFill/>
        </p:spPr>
        <p:txBody>
          <a:bodyPr/>
          <a:lstStyle/>
          <a:p>
            <a:r>
              <a:rPr lang="en-US" dirty="0"/>
              <a:t>Click icon to add picture</a:t>
            </a:r>
          </a:p>
        </p:txBody>
      </p:sp>
      <p:sp>
        <p:nvSpPr>
          <p:cNvPr id="7" name="Text Placeholder 12">
            <a:extLst>
              <a:ext uri="{FF2B5EF4-FFF2-40B4-BE49-F238E27FC236}">
                <a16:creationId xmlns:a16="http://schemas.microsoft.com/office/drawing/2014/main" id="{F3629D0B-0309-F24F-BAE9-D5FE74D3FCCA}"/>
              </a:ext>
            </a:extLst>
          </p:cNvPr>
          <p:cNvSpPr>
            <a:spLocks noGrp="1"/>
          </p:cNvSpPr>
          <p:nvPr>
            <p:ph type="body" sz="quarter" idx="14" hasCustomPrompt="1"/>
          </p:nvPr>
        </p:nvSpPr>
        <p:spPr>
          <a:xfrm>
            <a:off x="0" y="1089000"/>
            <a:ext cx="12192000" cy="4680000"/>
          </a:xfrm>
          <a:noFill/>
        </p:spPr>
        <p:txBody>
          <a:bodyPr lIns="360000" tIns="0" rIns="360000" bIns="0" anchor="ctr" anchorCtr="0">
            <a:noAutofit/>
          </a:bodyPr>
          <a:lstStyle>
            <a:lvl1pPr marL="0" indent="0" algn="l" defTabSz="914400" rtl="0" eaLnBrk="1" latinLnBrk="0" hangingPunct="1">
              <a:lnSpc>
                <a:spcPct val="100000"/>
              </a:lnSpc>
              <a:spcBef>
                <a:spcPct val="0"/>
              </a:spcBef>
              <a:buNone/>
              <a:defRPr lang="ar-SA" sz="7200" b="1" i="0" kern="1200" spc="-300" baseline="0" dirty="0">
                <a:solidFill>
                  <a:schemeClr val="bg2"/>
                </a:solidFill>
                <a:latin typeface="Arial Black" panose="020B0604020202020204" pitchFamily="34" charset="0"/>
                <a:ea typeface="+mj-ea"/>
                <a:cs typeface="Arial Black" panose="020B0604020202020204" pitchFamily="34" charset="0"/>
              </a:defRPr>
            </a:lvl1pPr>
          </a:lstStyle>
          <a:p>
            <a:pPr lvl="0"/>
            <a:r>
              <a:rPr lang="en-US" dirty="0"/>
              <a:t>This is the caption for the photo</a:t>
            </a:r>
            <a:endParaRPr lang="ar-SA" dirty="0"/>
          </a:p>
        </p:txBody>
      </p:sp>
    </p:spTree>
    <p:extLst>
      <p:ext uri="{BB962C8B-B14F-4D97-AF65-F5344CB8AC3E}">
        <p14:creationId xmlns:p14="http://schemas.microsoft.com/office/powerpoint/2010/main" val="688512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57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lang="en-US"/>
            </a:lvl1pPr>
          </a:lstStyle>
          <a:p>
            <a:r>
              <a:rPr lang="en-US"/>
              <a:t>Slide title (keep it short)</a:t>
            </a:r>
          </a:p>
        </p:txBody>
      </p:sp>
      <p:sp>
        <p:nvSpPr>
          <p:cNvPr id="3" name="Slide Number Placeholder 2">
            <a:extLst>
              <a:ext uri="{FF2B5EF4-FFF2-40B4-BE49-F238E27FC236}">
                <a16:creationId xmlns:a16="http://schemas.microsoft.com/office/drawing/2014/main" id="{72C506EC-58FC-B84D-BE01-77BF62B7997E}"/>
              </a:ext>
            </a:extLst>
          </p:cNvPr>
          <p:cNvSpPr>
            <a:spLocks noGrp="1"/>
          </p:cNvSpPr>
          <p:nvPr>
            <p:ph type="sldNum" sz="quarter" idx="10"/>
          </p:nvPr>
        </p:nvSpPr>
        <p:spPr/>
        <p:txBody>
          <a:bodyPr/>
          <a:lstStyle/>
          <a:p>
            <a:fld id="{9A0F7689-66CB-EC4F-9B5C-9C3D3ED1F24F}" type="slidenum">
              <a:rPr lang="en-US" smtClean="0"/>
              <a:pPr/>
              <a:t>‹#›</a:t>
            </a:fld>
            <a:endParaRPr lang="en-US" dirty="0"/>
          </a:p>
        </p:txBody>
      </p:sp>
    </p:spTree>
    <p:extLst>
      <p:ext uri="{BB962C8B-B14F-4D97-AF65-F5344CB8AC3E}">
        <p14:creationId xmlns:p14="http://schemas.microsoft.com/office/powerpoint/2010/main" val="225699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cSld name="1_(Style 1) 2 Columns">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lang="en-US" dirty="0"/>
            </a:lvl1pPr>
          </a:lstStyle>
          <a:p>
            <a:r>
              <a:rPr lang="en-US"/>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56825" y="1080000"/>
            <a:ext cx="5641200" cy="4977900"/>
          </a:xfrm>
          <a:prstGeom prst="rect">
            <a:avLst/>
          </a:prstGeom>
        </p:spPr>
        <p:txBody>
          <a:bodyPr vert="horz" lIns="0" tIns="0" rIns="0" bIns="0" rtlCol="0">
            <a:noAutofit/>
          </a:bodyPr>
          <a:lstStyle>
            <a:lvl1pPr>
              <a:defRPr lang="en-US" dirty="0"/>
            </a:lvl1pPr>
            <a:lvl2pPr marL="645750" indent="-285750">
              <a:spcBef>
                <a:spcPts val="500"/>
              </a:spcBef>
              <a:defRPr lang="en-US" sz="1600" kern="1200" baseline="0" dirty="0">
                <a:solidFill>
                  <a:schemeClr val="bg1"/>
                </a:solidFill>
                <a:latin typeface="+mn-lt"/>
                <a:ea typeface="+mn-ea"/>
                <a:cs typeface="+mn-cs"/>
              </a:defRPr>
            </a:lvl2pPr>
            <a:lvl3pPr>
              <a:defRPr lang="en-US" dirty="0"/>
            </a:lvl3pPr>
            <a:lvl4pPr>
              <a:defRPr lang="en-US" dirty="0"/>
            </a:lvl4pPr>
            <a:lvl5pPr>
              <a:defRPr lang="en-US" dirty="0"/>
            </a:lvl5pPr>
          </a:lstStyle>
          <a:p>
            <a:pPr lvl="0"/>
            <a:r>
              <a:rPr lang="en-US"/>
              <a:t>Click to edit text</a:t>
            </a:r>
          </a:p>
          <a:p>
            <a:pPr marL="540000" lvl="1" indent="-180000" algn="l" defTabSz="914400" rtl="0" eaLnBrk="1" latinLnBrk="0" hangingPunct="1">
              <a:lnSpc>
                <a:spcPct val="120000"/>
              </a:lnSpc>
              <a:spcBef>
                <a:spcPts val="500"/>
              </a:spcBef>
              <a:buClr>
                <a:schemeClr val="accent1"/>
              </a:buClr>
              <a:buFont typeface="System Font Regular"/>
              <a:buChar char="-"/>
            </a:pPr>
            <a:r>
              <a:rPr lang="en-US"/>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187414" y="1080000"/>
            <a:ext cx="5641200" cy="4977900"/>
          </a:xfrm>
          <a:prstGeom prst="rect">
            <a:avLst/>
          </a:prstGeom>
        </p:spPr>
        <p:txBody>
          <a:bodyPr vert="horz" lIns="0" tIns="0" rIns="0" bIns="0" rtlCol="0">
            <a:noAutofit/>
          </a:bodyPr>
          <a:lstStyle>
            <a:lvl1pPr>
              <a:defRPr lang="en-US" dirty="0"/>
            </a:lvl1pPr>
            <a:lvl2pPr marL="645750" indent="-285750">
              <a:spcBef>
                <a:spcPts val="500"/>
              </a:spcBef>
              <a:defRPr lang="en-US" sz="1600" kern="1200" baseline="0" dirty="0">
                <a:solidFill>
                  <a:schemeClr val="bg1"/>
                </a:solidFill>
                <a:latin typeface="+mn-lt"/>
                <a:ea typeface="+mn-ea"/>
                <a:cs typeface="+mn-cs"/>
              </a:defRPr>
            </a:lvl2pPr>
            <a:lvl3pPr>
              <a:defRPr lang="en-US" dirty="0"/>
            </a:lvl3pPr>
            <a:lvl4pPr>
              <a:defRPr lang="en-US" dirty="0"/>
            </a:lvl4pPr>
            <a:lvl5pPr>
              <a:defRPr lang="en-US" dirty="0"/>
            </a:lvl5pPr>
          </a:lstStyle>
          <a:p>
            <a:pPr lvl="0"/>
            <a:r>
              <a:rPr lang="en-US"/>
              <a:t>Click to edit text</a:t>
            </a:r>
          </a:p>
          <a:p>
            <a:pPr marL="540000" lvl="1" indent="-180000" algn="l" defTabSz="914400" rtl="0" eaLnBrk="1" latinLnBrk="0" hangingPunct="1">
              <a:lnSpc>
                <a:spcPct val="120000"/>
              </a:lnSpc>
              <a:spcBef>
                <a:spcPts val="500"/>
              </a:spcBef>
              <a:buClr>
                <a:schemeClr val="accent1"/>
              </a:buClr>
              <a:buFont typeface="System Font Regular"/>
              <a:buChar char="-"/>
            </a:pPr>
            <a:r>
              <a:rPr lang="en-US"/>
              <a:t>Second level</a:t>
            </a:r>
          </a:p>
        </p:txBody>
      </p:sp>
      <p:sp>
        <p:nvSpPr>
          <p:cNvPr id="6" name="Slide Number Placeholder 5">
            <a:extLst>
              <a:ext uri="{FF2B5EF4-FFF2-40B4-BE49-F238E27FC236}">
                <a16:creationId xmlns:a16="http://schemas.microsoft.com/office/drawing/2014/main" id="{0F6F081C-5E20-4A67-99BE-5BECA52D1378}"/>
              </a:ext>
            </a:extLst>
          </p:cNvPr>
          <p:cNvSpPr>
            <a:spLocks noGrp="1"/>
          </p:cNvSpPr>
          <p:nvPr>
            <p:ph type="sldNum" sz="quarter" idx="4"/>
          </p:nvPr>
        </p:nvSpPr>
        <p:spPr>
          <a:xfrm>
            <a:off x="359999" y="6227400"/>
            <a:ext cx="252000" cy="365125"/>
          </a:xfrm>
          <a:prstGeom prst="rect">
            <a:avLst/>
          </a:prstGeom>
        </p:spPr>
        <p:txBody>
          <a:bodyPr vert="horz" lIns="0" tIns="0" rIns="0" bIns="0" rtlCol="0" anchor="ctr"/>
          <a:lstStyle>
            <a:lvl1pPr marL="0" algn="l" defTabSz="914400" rtl="0" eaLnBrk="1" latinLnBrk="0" hangingPunct="1">
              <a:defRPr lang="en-US" sz="800" kern="1200" smtClean="0">
                <a:solidFill>
                  <a:schemeClr val="tx2"/>
                </a:solidFill>
                <a:latin typeface="+mn-lt"/>
                <a:ea typeface="+mn-ea"/>
                <a:cs typeface="+mn-cs"/>
              </a:defRPr>
            </a:lvl1pPr>
          </a:lstStyle>
          <a:p>
            <a:pPr algn="l"/>
            <a:fld id="{9A0F7689-66CB-EC4F-9B5C-9C3D3ED1F24F}" type="slidenum">
              <a:rPr lang="en-US" smtClean="0"/>
              <a:pPr algn="l"/>
              <a:t>‹#›</a:t>
            </a:fld>
            <a:endParaRPr lang="en-US"/>
          </a:p>
        </p:txBody>
      </p:sp>
    </p:spTree>
    <p:extLst>
      <p:ext uri="{BB962C8B-B14F-4D97-AF65-F5344CB8AC3E}">
        <p14:creationId xmlns:p14="http://schemas.microsoft.com/office/powerpoint/2010/main" val="278025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tyle 1) Content &amp; 2 Images" preserve="1">
  <p:cSld name="(Style 1) Content &amp; 2 Images">
    <p:spTree>
      <p:nvGrpSpPr>
        <p:cNvPr id="1" name="Shape 112"/>
        <p:cNvGrpSpPr/>
        <p:nvPr/>
      </p:nvGrpSpPr>
      <p:grpSpPr>
        <a:xfrm>
          <a:off x="0" y="0"/>
          <a:ext cx="0" cy="0"/>
          <a:chOff x="0" y="0"/>
          <a:chExt cx="0" cy="0"/>
        </a:xfrm>
      </p:grpSpPr>
      <p:sp>
        <p:nvSpPr>
          <p:cNvPr id="113" name="Google Shape;113;p87"/>
          <p:cNvSpPr>
            <a:spLocks noGrp="1"/>
          </p:cNvSpPr>
          <p:nvPr>
            <p:ph type="pic" idx="2"/>
          </p:nvPr>
        </p:nvSpPr>
        <p:spPr>
          <a:xfrm>
            <a:off x="6095999" y="0"/>
            <a:ext cx="6095999" cy="3429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14" name="Google Shape;114;p87"/>
          <p:cNvSpPr txBox="1">
            <a:spLocks noGrp="1"/>
          </p:cNvSpPr>
          <p:nvPr>
            <p:ph type="title"/>
          </p:nvPr>
        </p:nvSpPr>
        <p:spPr>
          <a:xfrm>
            <a:off x="360000"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87"/>
          <p:cNvSpPr txBox="1">
            <a:spLocks noGrp="1"/>
          </p:cNvSpPr>
          <p:nvPr>
            <p:ph type="body" idx="1"/>
          </p:nvPr>
        </p:nvSpPr>
        <p:spPr>
          <a:xfrm>
            <a:off x="360000" y="1080000"/>
            <a:ext cx="540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87"/>
          <p:cNvSpPr>
            <a:spLocks noGrp="1"/>
          </p:cNvSpPr>
          <p:nvPr>
            <p:ph type="pic" idx="3"/>
          </p:nvPr>
        </p:nvSpPr>
        <p:spPr>
          <a:xfrm>
            <a:off x="6095999" y="3429000"/>
            <a:ext cx="6095999" cy="3429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17" name="Google Shape;117;p87"/>
          <p:cNvSpPr txBox="1">
            <a:spLocks noGrp="1"/>
          </p:cNvSpPr>
          <p:nvPr>
            <p:ph type="sldNum" idx="12"/>
          </p:nvPr>
        </p:nvSpPr>
        <p:spPr>
          <a:xfrm>
            <a:off x="3016800" y="622740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800">
                <a:solidFill>
                  <a:schemeClr val="accent5"/>
                </a:solidFill>
                <a:latin typeface="Arial"/>
                <a:ea typeface="Arial"/>
                <a:cs typeface="Arial"/>
                <a:sym typeface="Arial"/>
              </a:defRPr>
            </a:lvl1pPr>
            <a:lvl2pPr marL="0" lvl="1" indent="0" algn="r">
              <a:spcBef>
                <a:spcPts val="0"/>
              </a:spcBef>
              <a:buNone/>
              <a:defRPr sz="800">
                <a:solidFill>
                  <a:schemeClr val="accent5"/>
                </a:solidFill>
                <a:latin typeface="Arial"/>
                <a:ea typeface="Arial"/>
                <a:cs typeface="Arial"/>
                <a:sym typeface="Arial"/>
              </a:defRPr>
            </a:lvl2pPr>
            <a:lvl3pPr marL="0" lvl="2" indent="0" algn="r">
              <a:spcBef>
                <a:spcPts val="0"/>
              </a:spcBef>
              <a:buNone/>
              <a:defRPr sz="800">
                <a:solidFill>
                  <a:schemeClr val="accent5"/>
                </a:solidFill>
                <a:latin typeface="Arial"/>
                <a:ea typeface="Arial"/>
                <a:cs typeface="Arial"/>
                <a:sym typeface="Arial"/>
              </a:defRPr>
            </a:lvl3pPr>
            <a:lvl4pPr marL="0" lvl="3" indent="0" algn="r">
              <a:spcBef>
                <a:spcPts val="0"/>
              </a:spcBef>
              <a:buNone/>
              <a:defRPr sz="800">
                <a:solidFill>
                  <a:schemeClr val="accent5"/>
                </a:solidFill>
                <a:latin typeface="Arial"/>
                <a:ea typeface="Arial"/>
                <a:cs typeface="Arial"/>
                <a:sym typeface="Arial"/>
              </a:defRPr>
            </a:lvl4pPr>
            <a:lvl5pPr marL="0" lvl="4" indent="0" algn="r">
              <a:spcBef>
                <a:spcPts val="0"/>
              </a:spcBef>
              <a:buNone/>
              <a:defRPr sz="800">
                <a:solidFill>
                  <a:schemeClr val="accent5"/>
                </a:solidFill>
                <a:latin typeface="Arial"/>
                <a:ea typeface="Arial"/>
                <a:cs typeface="Arial"/>
                <a:sym typeface="Arial"/>
              </a:defRPr>
            </a:lvl5pPr>
            <a:lvl6pPr marL="0" lvl="5" indent="0" algn="r">
              <a:spcBef>
                <a:spcPts val="0"/>
              </a:spcBef>
              <a:buNone/>
              <a:defRPr sz="800">
                <a:solidFill>
                  <a:schemeClr val="accent5"/>
                </a:solidFill>
                <a:latin typeface="Arial"/>
                <a:ea typeface="Arial"/>
                <a:cs typeface="Arial"/>
                <a:sym typeface="Arial"/>
              </a:defRPr>
            </a:lvl6pPr>
            <a:lvl7pPr marL="0" lvl="6" indent="0" algn="r">
              <a:spcBef>
                <a:spcPts val="0"/>
              </a:spcBef>
              <a:buNone/>
              <a:defRPr sz="800">
                <a:solidFill>
                  <a:schemeClr val="accent5"/>
                </a:solidFill>
                <a:latin typeface="Arial"/>
                <a:ea typeface="Arial"/>
                <a:cs typeface="Arial"/>
                <a:sym typeface="Arial"/>
              </a:defRPr>
            </a:lvl7pPr>
            <a:lvl8pPr marL="0" lvl="7" indent="0" algn="r">
              <a:spcBef>
                <a:spcPts val="0"/>
              </a:spcBef>
              <a:buNone/>
              <a:defRPr sz="800">
                <a:solidFill>
                  <a:schemeClr val="accent5"/>
                </a:solidFill>
                <a:latin typeface="Arial"/>
                <a:ea typeface="Arial"/>
                <a:cs typeface="Arial"/>
                <a:sym typeface="Arial"/>
              </a:defRPr>
            </a:lvl8pPr>
            <a:lvl9pPr marL="0" lvl="8" indent="0" algn="r">
              <a:spcBef>
                <a:spcPts val="0"/>
              </a:spcBef>
              <a:buNone/>
              <a:defRPr sz="800">
                <a:solidFill>
                  <a:schemeClr val="accent5"/>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8623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tyle 1) 3 Text Boxes" preserve="1">
  <p:cSld name="(Style 1) 3 Text Boxes">
    <p:spTree>
      <p:nvGrpSpPr>
        <p:cNvPr id="1" name="Shape 118"/>
        <p:cNvGrpSpPr/>
        <p:nvPr/>
      </p:nvGrpSpPr>
      <p:grpSpPr>
        <a:xfrm>
          <a:off x="0" y="0"/>
          <a:ext cx="0" cy="0"/>
          <a:chOff x="0" y="0"/>
          <a:chExt cx="0" cy="0"/>
        </a:xfrm>
      </p:grpSpPr>
      <p:cxnSp>
        <p:nvCxnSpPr>
          <p:cNvPr id="119" name="Google Shape;119;p88"/>
          <p:cNvCxnSpPr/>
          <p:nvPr/>
        </p:nvCxnSpPr>
        <p:spPr>
          <a:xfrm>
            <a:off x="346074" y="725993"/>
            <a:ext cx="5616000" cy="0"/>
          </a:xfrm>
          <a:prstGeom prst="straightConnector1">
            <a:avLst/>
          </a:prstGeom>
          <a:noFill/>
          <a:ln w="9525" cap="flat" cmpd="sng">
            <a:solidFill>
              <a:srgbClr val="C8C8CB"/>
            </a:solidFill>
            <a:prstDash val="solid"/>
            <a:miter lim="400000"/>
            <a:headEnd type="none" w="sm" len="sm"/>
            <a:tailEnd type="none" w="sm" len="sm"/>
          </a:ln>
        </p:spPr>
      </p:cxnSp>
      <p:cxnSp>
        <p:nvCxnSpPr>
          <p:cNvPr id="120" name="Google Shape;120;p88"/>
          <p:cNvCxnSpPr/>
          <p:nvPr/>
        </p:nvCxnSpPr>
        <p:spPr>
          <a:xfrm>
            <a:off x="6184015" y="725993"/>
            <a:ext cx="5616000" cy="0"/>
          </a:xfrm>
          <a:prstGeom prst="straightConnector1">
            <a:avLst/>
          </a:prstGeom>
          <a:noFill/>
          <a:ln w="9525" cap="flat" cmpd="sng">
            <a:solidFill>
              <a:srgbClr val="C8C8CB"/>
            </a:solidFill>
            <a:prstDash val="solid"/>
            <a:miter lim="400000"/>
            <a:headEnd type="none" w="sm" len="sm"/>
            <a:tailEnd type="none" w="sm" len="sm"/>
          </a:ln>
        </p:spPr>
      </p:cxnSp>
      <p:cxnSp>
        <p:nvCxnSpPr>
          <p:cNvPr id="121" name="Google Shape;121;p88"/>
          <p:cNvCxnSpPr/>
          <p:nvPr/>
        </p:nvCxnSpPr>
        <p:spPr>
          <a:xfrm>
            <a:off x="6184015" y="3444813"/>
            <a:ext cx="5616000" cy="0"/>
          </a:xfrm>
          <a:prstGeom prst="straightConnector1">
            <a:avLst/>
          </a:prstGeom>
          <a:noFill/>
          <a:ln w="9525" cap="flat" cmpd="sng">
            <a:solidFill>
              <a:srgbClr val="C8C8CB"/>
            </a:solidFill>
            <a:prstDash val="solid"/>
            <a:miter lim="400000"/>
            <a:headEnd type="none" w="sm" len="sm"/>
            <a:tailEnd type="none" w="sm" len="sm"/>
          </a:ln>
        </p:spPr>
      </p:cxnSp>
      <p:sp>
        <p:nvSpPr>
          <p:cNvPr id="122" name="Google Shape;122;p88"/>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123" name="Google Shape;123;p88"/>
          <p:cNvSpPr txBox="1">
            <a:spLocks noGrp="1"/>
          </p:cNvSpPr>
          <p:nvPr>
            <p:ph type="body" idx="1"/>
          </p:nvPr>
        </p:nvSpPr>
        <p:spPr>
          <a:xfrm>
            <a:off x="360363" y="828674"/>
            <a:ext cx="5614987" cy="5229219"/>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88"/>
          <p:cNvSpPr txBox="1">
            <a:spLocks noGrp="1"/>
          </p:cNvSpPr>
          <p:nvPr>
            <p:ph type="body" idx="2"/>
          </p:nvPr>
        </p:nvSpPr>
        <p:spPr>
          <a:xfrm>
            <a:off x="6201870" y="828675"/>
            <a:ext cx="5632064"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 name="Google Shape;125;p88"/>
          <p:cNvSpPr txBox="1">
            <a:spLocks noGrp="1"/>
          </p:cNvSpPr>
          <p:nvPr>
            <p:ph type="body" idx="3"/>
          </p:nvPr>
        </p:nvSpPr>
        <p:spPr>
          <a:xfrm>
            <a:off x="6201870" y="3660652"/>
            <a:ext cx="5632064"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 name="Google Shape;126;p88"/>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7182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Style 1) 4 Text Boxes" preserve="1">
  <p:cSld name="(Style 1) 4 Text Boxes">
    <p:spTree>
      <p:nvGrpSpPr>
        <p:cNvPr id="1" name="Shape 127"/>
        <p:cNvGrpSpPr/>
        <p:nvPr/>
      </p:nvGrpSpPr>
      <p:grpSpPr>
        <a:xfrm>
          <a:off x="0" y="0"/>
          <a:ext cx="0" cy="0"/>
          <a:chOff x="0" y="0"/>
          <a:chExt cx="0" cy="0"/>
        </a:xfrm>
      </p:grpSpPr>
      <p:cxnSp>
        <p:nvCxnSpPr>
          <p:cNvPr id="128" name="Google Shape;128;p89"/>
          <p:cNvCxnSpPr/>
          <p:nvPr/>
        </p:nvCxnSpPr>
        <p:spPr>
          <a:xfrm>
            <a:off x="346074" y="725993"/>
            <a:ext cx="5616000" cy="0"/>
          </a:xfrm>
          <a:prstGeom prst="straightConnector1">
            <a:avLst/>
          </a:prstGeom>
          <a:noFill/>
          <a:ln w="9525" cap="flat" cmpd="sng">
            <a:solidFill>
              <a:srgbClr val="C8C8CB"/>
            </a:solidFill>
            <a:prstDash val="solid"/>
            <a:miter lim="400000"/>
            <a:headEnd type="none" w="sm" len="sm"/>
            <a:tailEnd type="none" w="sm" len="sm"/>
          </a:ln>
        </p:spPr>
      </p:cxnSp>
      <p:cxnSp>
        <p:nvCxnSpPr>
          <p:cNvPr id="129" name="Google Shape;129;p89"/>
          <p:cNvCxnSpPr/>
          <p:nvPr/>
        </p:nvCxnSpPr>
        <p:spPr>
          <a:xfrm>
            <a:off x="346074" y="3554918"/>
            <a:ext cx="5616000" cy="0"/>
          </a:xfrm>
          <a:prstGeom prst="straightConnector1">
            <a:avLst/>
          </a:prstGeom>
          <a:noFill/>
          <a:ln w="9525" cap="flat" cmpd="sng">
            <a:solidFill>
              <a:srgbClr val="C8C8CB"/>
            </a:solidFill>
            <a:prstDash val="solid"/>
            <a:miter lim="400000"/>
            <a:headEnd type="none" w="sm" len="sm"/>
            <a:tailEnd type="none" w="sm" len="sm"/>
          </a:ln>
        </p:spPr>
      </p:cxnSp>
      <p:cxnSp>
        <p:nvCxnSpPr>
          <p:cNvPr id="130" name="Google Shape;130;p89"/>
          <p:cNvCxnSpPr/>
          <p:nvPr/>
        </p:nvCxnSpPr>
        <p:spPr>
          <a:xfrm>
            <a:off x="6184015" y="725993"/>
            <a:ext cx="5616000" cy="0"/>
          </a:xfrm>
          <a:prstGeom prst="straightConnector1">
            <a:avLst/>
          </a:prstGeom>
          <a:noFill/>
          <a:ln w="9525" cap="flat" cmpd="sng">
            <a:solidFill>
              <a:srgbClr val="C8C8CB"/>
            </a:solidFill>
            <a:prstDash val="solid"/>
            <a:miter lim="400000"/>
            <a:headEnd type="none" w="sm" len="sm"/>
            <a:tailEnd type="none" w="sm" len="sm"/>
          </a:ln>
        </p:spPr>
      </p:cxnSp>
      <p:cxnSp>
        <p:nvCxnSpPr>
          <p:cNvPr id="131" name="Google Shape;131;p89"/>
          <p:cNvCxnSpPr/>
          <p:nvPr/>
        </p:nvCxnSpPr>
        <p:spPr>
          <a:xfrm>
            <a:off x="6184015" y="3554918"/>
            <a:ext cx="5616000" cy="0"/>
          </a:xfrm>
          <a:prstGeom prst="straightConnector1">
            <a:avLst/>
          </a:prstGeom>
          <a:noFill/>
          <a:ln w="9525" cap="flat" cmpd="sng">
            <a:solidFill>
              <a:srgbClr val="C8C8CB"/>
            </a:solidFill>
            <a:prstDash val="solid"/>
            <a:miter lim="400000"/>
            <a:headEnd type="none" w="sm" len="sm"/>
            <a:tailEnd type="none" w="sm" len="sm"/>
          </a:ln>
        </p:spPr>
      </p:cxnSp>
      <p:sp>
        <p:nvSpPr>
          <p:cNvPr id="132" name="Google Shape;132;p89"/>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133" name="Google Shape;133;p89"/>
          <p:cNvSpPr txBox="1">
            <a:spLocks noGrp="1"/>
          </p:cNvSpPr>
          <p:nvPr>
            <p:ph type="body" idx="1"/>
          </p:nvPr>
        </p:nvSpPr>
        <p:spPr>
          <a:xfrm>
            <a:off x="360363" y="828675"/>
            <a:ext cx="5614987"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solidFill>
                  <a:schemeClr val="dk1"/>
                </a:solidFill>
              </a:defRPr>
            </a:lvl3pPr>
            <a:lvl4pPr marL="1828800" lvl="3" indent="-292100" algn="l">
              <a:lnSpc>
                <a:spcPct val="120000"/>
              </a:lnSpc>
              <a:spcBef>
                <a:spcPts val="500"/>
              </a:spcBef>
              <a:spcAft>
                <a:spcPts val="0"/>
              </a:spcAft>
              <a:buSzPts val="1000"/>
              <a:buChar char="•"/>
              <a:defRPr sz="1000">
                <a:solidFill>
                  <a:schemeClr val="dk1"/>
                </a:solidFill>
              </a:defRPr>
            </a:lvl4pPr>
            <a:lvl5pPr marL="2286000" lvl="4" indent="-292100" algn="l">
              <a:lnSpc>
                <a:spcPct val="120000"/>
              </a:lnSpc>
              <a:spcBef>
                <a:spcPts val="500"/>
              </a:spcBef>
              <a:spcAft>
                <a:spcPts val="0"/>
              </a:spcAft>
              <a:buSzPts val="1000"/>
              <a:buChar char="•"/>
              <a:defRPr sz="10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89"/>
          <p:cNvSpPr txBox="1">
            <a:spLocks noGrp="1"/>
          </p:cNvSpPr>
          <p:nvPr>
            <p:ph type="body" idx="2"/>
          </p:nvPr>
        </p:nvSpPr>
        <p:spPr>
          <a:xfrm>
            <a:off x="6201870" y="828675"/>
            <a:ext cx="5632064"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solidFill>
                  <a:schemeClr val="dk1"/>
                </a:solidFill>
              </a:defRPr>
            </a:lvl3pPr>
            <a:lvl4pPr marL="1828800" lvl="3" indent="-292100" algn="l">
              <a:lnSpc>
                <a:spcPct val="120000"/>
              </a:lnSpc>
              <a:spcBef>
                <a:spcPts val="500"/>
              </a:spcBef>
              <a:spcAft>
                <a:spcPts val="0"/>
              </a:spcAft>
              <a:buSzPts val="1000"/>
              <a:buChar char="•"/>
              <a:defRPr sz="1000">
                <a:solidFill>
                  <a:schemeClr val="dk1"/>
                </a:solidFill>
              </a:defRPr>
            </a:lvl4pPr>
            <a:lvl5pPr marL="2286000" lvl="4" indent="-292100" algn="l">
              <a:lnSpc>
                <a:spcPct val="120000"/>
              </a:lnSpc>
              <a:spcBef>
                <a:spcPts val="500"/>
              </a:spcBef>
              <a:spcAft>
                <a:spcPts val="0"/>
              </a:spcAft>
              <a:buSzPts val="1000"/>
              <a:buChar char="•"/>
              <a:defRPr sz="10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89"/>
          <p:cNvSpPr txBox="1">
            <a:spLocks noGrp="1"/>
          </p:cNvSpPr>
          <p:nvPr>
            <p:ph type="body" idx="3"/>
          </p:nvPr>
        </p:nvSpPr>
        <p:spPr>
          <a:xfrm>
            <a:off x="360363" y="3660652"/>
            <a:ext cx="5614987"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solidFill>
                  <a:schemeClr val="dk1"/>
                </a:solidFill>
              </a:defRPr>
            </a:lvl3pPr>
            <a:lvl4pPr marL="1828800" lvl="3" indent="-292100" algn="l">
              <a:lnSpc>
                <a:spcPct val="120000"/>
              </a:lnSpc>
              <a:spcBef>
                <a:spcPts val="500"/>
              </a:spcBef>
              <a:spcAft>
                <a:spcPts val="0"/>
              </a:spcAft>
              <a:buSzPts val="1000"/>
              <a:buChar char="•"/>
              <a:defRPr sz="1000">
                <a:solidFill>
                  <a:schemeClr val="dk1"/>
                </a:solidFill>
              </a:defRPr>
            </a:lvl4pPr>
            <a:lvl5pPr marL="2286000" lvl="4" indent="-292100" algn="l">
              <a:lnSpc>
                <a:spcPct val="120000"/>
              </a:lnSpc>
              <a:spcBef>
                <a:spcPts val="500"/>
              </a:spcBef>
              <a:spcAft>
                <a:spcPts val="0"/>
              </a:spcAft>
              <a:buSzPts val="1000"/>
              <a:buChar char="•"/>
              <a:defRPr sz="10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89"/>
          <p:cNvSpPr txBox="1">
            <a:spLocks noGrp="1"/>
          </p:cNvSpPr>
          <p:nvPr>
            <p:ph type="body" idx="4"/>
          </p:nvPr>
        </p:nvSpPr>
        <p:spPr>
          <a:xfrm>
            <a:off x="6201870" y="3660652"/>
            <a:ext cx="5632064"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solidFill>
                  <a:schemeClr val="dk1"/>
                </a:solidFill>
              </a:defRPr>
            </a:lvl3pPr>
            <a:lvl4pPr marL="1828800" lvl="3" indent="-292100" algn="l">
              <a:lnSpc>
                <a:spcPct val="120000"/>
              </a:lnSpc>
              <a:spcBef>
                <a:spcPts val="500"/>
              </a:spcBef>
              <a:spcAft>
                <a:spcPts val="0"/>
              </a:spcAft>
              <a:buSzPts val="1000"/>
              <a:buChar char="•"/>
              <a:defRPr sz="1000">
                <a:solidFill>
                  <a:schemeClr val="dk1"/>
                </a:solidFill>
              </a:defRPr>
            </a:lvl4pPr>
            <a:lvl5pPr marL="2286000" lvl="4" indent="-292100" algn="l">
              <a:lnSpc>
                <a:spcPct val="120000"/>
              </a:lnSpc>
              <a:spcBef>
                <a:spcPts val="500"/>
              </a:spcBef>
              <a:spcAft>
                <a:spcPts val="0"/>
              </a:spcAft>
              <a:buSzPts val="1000"/>
              <a:buChar char="•"/>
              <a:defRPr sz="10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 name="Google Shape;137;p89"/>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62495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tyle 1) 5 Text Boxes" preserve="1">
  <p:cSld name="(Style 1) 5 Text Boxes">
    <p:spTree>
      <p:nvGrpSpPr>
        <p:cNvPr id="1" name="Shape 138"/>
        <p:cNvGrpSpPr/>
        <p:nvPr/>
      </p:nvGrpSpPr>
      <p:grpSpPr>
        <a:xfrm>
          <a:off x="0" y="0"/>
          <a:ext cx="0" cy="0"/>
          <a:chOff x="0" y="0"/>
          <a:chExt cx="0" cy="0"/>
        </a:xfrm>
      </p:grpSpPr>
      <p:cxnSp>
        <p:nvCxnSpPr>
          <p:cNvPr id="139" name="Google Shape;139;p90"/>
          <p:cNvCxnSpPr/>
          <p:nvPr/>
        </p:nvCxnSpPr>
        <p:spPr>
          <a:xfrm>
            <a:off x="346075" y="725993"/>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40" name="Google Shape;140;p90"/>
          <p:cNvCxnSpPr/>
          <p:nvPr/>
        </p:nvCxnSpPr>
        <p:spPr>
          <a:xfrm>
            <a:off x="346075" y="3554918"/>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41" name="Google Shape;141;p90"/>
          <p:cNvCxnSpPr/>
          <p:nvPr/>
        </p:nvCxnSpPr>
        <p:spPr>
          <a:xfrm>
            <a:off x="4291351" y="725993"/>
            <a:ext cx="7522589" cy="0"/>
          </a:xfrm>
          <a:prstGeom prst="straightConnector1">
            <a:avLst/>
          </a:prstGeom>
          <a:noFill/>
          <a:ln w="9525" cap="flat" cmpd="sng">
            <a:solidFill>
              <a:srgbClr val="C8C8CB"/>
            </a:solidFill>
            <a:prstDash val="solid"/>
            <a:miter lim="400000"/>
            <a:headEnd type="none" w="sm" len="sm"/>
            <a:tailEnd type="none" w="sm" len="sm"/>
          </a:ln>
        </p:spPr>
      </p:cxnSp>
      <p:cxnSp>
        <p:nvCxnSpPr>
          <p:cNvPr id="142" name="Google Shape;142;p90"/>
          <p:cNvCxnSpPr/>
          <p:nvPr/>
        </p:nvCxnSpPr>
        <p:spPr>
          <a:xfrm>
            <a:off x="4291351" y="3554918"/>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43" name="Google Shape;143;p90"/>
          <p:cNvCxnSpPr/>
          <p:nvPr/>
        </p:nvCxnSpPr>
        <p:spPr>
          <a:xfrm>
            <a:off x="8205805" y="3554918"/>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144" name="Google Shape;144;p90"/>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145" name="Google Shape;145;p90"/>
          <p:cNvSpPr txBox="1">
            <a:spLocks noGrp="1"/>
          </p:cNvSpPr>
          <p:nvPr>
            <p:ph type="body" idx="1"/>
          </p:nvPr>
        </p:nvSpPr>
        <p:spPr>
          <a:xfrm>
            <a:off x="360362" y="828675"/>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 name="Google Shape;146;p90"/>
          <p:cNvSpPr txBox="1">
            <a:spLocks noGrp="1"/>
          </p:cNvSpPr>
          <p:nvPr>
            <p:ph type="body" idx="2"/>
          </p:nvPr>
        </p:nvSpPr>
        <p:spPr>
          <a:xfrm>
            <a:off x="4305600" y="828675"/>
            <a:ext cx="7540649"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90"/>
          <p:cNvSpPr txBox="1">
            <a:spLocks noGrp="1"/>
          </p:cNvSpPr>
          <p:nvPr>
            <p:ph type="body" idx="3"/>
          </p:nvPr>
        </p:nvSpPr>
        <p:spPr>
          <a:xfrm>
            <a:off x="360362" y="3660652"/>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 name="Google Shape;148;p90"/>
          <p:cNvSpPr txBox="1">
            <a:spLocks noGrp="1"/>
          </p:cNvSpPr>
          <p:nvPr>
            <p:ph type="body" idx="4"/>
          </p:nvPr>
        </p:nvSpPr>
        <p:spPr>
          <a:xfrm>
            <a:off x="4305600" y="3660652"/>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90"/>
          <p:cNvSpPr txBox="1">
            <a:spLocks noGrp="1"/>
          </p:cNvSpPr>
          <p:nvPr>
            <p:ph type="body" idx="5"/>
          </p:nvPr>
        </p:nvSpPr>
        <p:spPr>
          <a:xfrm>
            <a:off x="8218800" y="3660652"/>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 name="Google Shape;150;p90"/>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01197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tyle 1) 6 Text Boxes" preserve="1">
  <p:cSld name="(Style 1) 6 Text Boxes">
    <p:spTree>
      <p:nvGrpSpPr>
        <p:cNvPr id="1" name="Shape 151"/>
        <p:cNvGrpSpPr/>
        <p:nvPr/>
      </p:nvGrpSpPr>
      <p:grpSpPr>
        <a:xfrm>
          <a:off x="0" y="0"/>
          <a:ext cx="0" cy="0"/>
          <a:chOff x="0" y="0"/>
          <a:chExt cx="0" cy="0"/>
        </a:xfrm>
      </p:grpSpPr>
      <p:cxnSp>
        <p:nvCxnSpPr>
          <p:cNvPr id="152" name="Google Shape;152;p91"/>
          <p:cNvCxnSpPr/>
          <p:nvPr/>
        </p:nvCxnSpPr>
        <p:spPr>
          <a:xfrm>
            <a:off x="346075" y="725993"/>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53" name="Google Shape;153;p91"/>
          <p:cNvCxnSpPr/>
          <p:nvPr/>
        </p:nvCxnSpPr>
        <p:spPr>
          <a:xfrm>
            <a:off x="346075" y="3554918"/>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54" name="Google Shape;154;p91"/>
          <p:cNvCxnSpPr/>
          <p:nvPr/>
        </p:nvCxnSpPr>
        <p:spPr>
          <a:xfrm>
            <a:off x="4291351" y="725993"/>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55" name="Google Shape;155;p91"/>
          <p:cNvCxnSpPr/>
          <p:nvPr/>
        </p:nvCxnSpPr>
        <p:spPr>
          <a:xfrm>
            <a:off x="4291351" y="3554918"/>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56" name="Google Shape;156;p91"/>
          <p:cNvCxnSpPr/>
          <p:nvPr/>
        </p:nvCxnSpPr>
        <p:spPr>
          <a:xfrm>
            <a:off x="8205805" y="725993"/>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157" name="Google Shape;157;p91"/>
          <p:cNvCxnSpPr/>
          <p:nvPr/>
        </p:nvCxnSpPr>
        <p:spPr>
          <a:xfrm>
            <a:off x="8205805" y="3554918"/>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158" name="Google Shape;158;p91"/>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159" name="Google Shape;159;p91"/>
          <p:cNvSpPr txBox="1">
            <a:spLocks noGrp="1"/>
          </p:cNvSpPr>
          <p:nvPr>
            <p:ph type="body" idx="1"/>
          </p:nvPr>
        </p:nvSpPr>
        <p:spPr>
          <a:xfrm>
            <a:off x="360362" y="828675"/>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 name="Google Shape;160;p91"/>
          <p:cNvSpPr txBox="1">
            <a:spLocks noGrp="1"/>
          </p:cNvSpPr>
          <p:nvPr>
            <p:ph type="body" idx="2"/>
          </p:nvPr>
        </p:nvSpPr>
        <p:spPr>
          <a:xfrm>
            <a:off x="360362" y="3660652"/>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 name="Google Shape;161;p91"/>
          <p:cNvSpPr txBox="1">
            <a:spLocks noGrp="1"/>
          </p:cNvSpPr>
          <p:nvPr>
            <p:ph type="body" idx="3"/>
          </p:nvPr>
        </p:nvSpPr>
        <p:spPr>
          <a:xfrm>
            <a:off x="4305600" y="3660652"/>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 name="Google Shape;162;p91"/>
          <p:cNvSpPr txBox="1">
            <a:spLocks noGrp="1"/>
          </p:cNvSpPr>
          <p:nvPr>
            <p:ph type="body" idx="4"/>
          </p:nvPr>
        </p:nvSpPr>
        <p:spPr>
          <a:xfrm>
            <a:off x="8218800" y="3660652"/>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91"/>
          <p:cNvSpPr txBox="1">
            <a:spLocks noGrp="1"/>
          </p:cNvSpPr>
          <p:nvPr>
            <p:ph type="body" idx="5"/>
          </p:nvPr>
        </p:nvSpPr>
        <p:spPr>
          <a:xfrm>
            <a:off x="4305600" y="828000"/>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91"/>
          <p:cNvSpPr txBox="1">
            <a:spLocks noGrp="1"/>
          </p:cNvSpPr>
          <p:nvPr>
            <p:ph type="body" idx="6"/>
          </p:nvPr>
        </p:nvSpPr>
        <p:spPr>
          <a:xfrm>
            <a:off x="8218800" y="828000"/>
            <a:ext cx="3600000" cy="2400300"/>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91"/>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13318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Section Title" preserve="1">
  <p:cSld name="Section Title">
    <p:bg>
      <p:bgPr>
        <a:solidFill>
          <a:schemeClr val="lt1"/>
        </a:solidFill>
        <a:effectLst/>
      </p:bgPr>
    </p:bg>
    <p:spTree>
      <p:nvGrpSpPr>
        <p:cNvPr id="1" name="Shape 20"/>
        <p:cNvGrpSpPr/>
        <p:nvPr/>
      </p:nvGrpSpPr>
      <p:grpSpPr>
        <a:xfrm>
          <a:off x="0" y="0"/>
          <a:ext cx="0" cy="0"/>
          <a:chOff x="0" y="0"/>
          <a:chExt cx="0" cy="0"/>
        </a:xfrm>
      </p:grpSpPr>
      <p:sp>
        <p:nvSpPr>
          <p:cNvPr id="21" name="Google Shape;21;p74"/>
          <p:cNvSpPr txBox="1">
            <a:spLocks noGrp="1"/>
          </p:cNvSpPr>
          <p:nvPr>
            <p:ph type="ctrTitle"/>
          </p:nvPr>
        </p:nvSpPr>
        <p:spPr>
          <a:xfrm>
            <a:off x="720000" y="1707266"/>
            <a:ext cx="6120000" cy="18000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3200"/>
              <a:buFont typeface="Arial"/>
              <a:buNone/>
              <a:defRPr sz="32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74"/>
          <p:cNvSpPr txBox="1">
            <a:spLocks noGrp="1"/>
          </p:cNvSpPr>
          <p:nvPr>
            <p:ph type="subTitle" idx="1"/>
          </p:nvPr>
        </p:nvSpPr>
        <p:spPr>
          <a:xfrm>
            <a:off x="720000" y="3869006"/>
            <a:ext cx="6120000" cy="720000"/>
          </a:xfrm>
          <a:prstGeom prst="rect">
            <a:avLst/>
          </a:prstGeom>
          <a:noFill/>
          <a:ln>
            <a:noFill/>
          </a:ln>
        </p:spPr>
        <p:txBody>
          <a:bodyPr spcFirstLastPara="1" wrap="square" lIns="0" tIns="0" rIns="0" bIns="0" anchor="t" anchorCtr="0">
            <a:normAutofit/>
          </a:bodyPr>
          <a:lstStyle>
            <a:lvl1pPr marR="0" lvl="0" algn="l">
              <a:lnSpc>
                <a:spcPct val="120000"/>
              </a:lnSpc>
              <a:spcBef>
                <a:spcPts val="1200"/>
              </a:spcBef>
              <a:spcAft>
                <a:spcPts val="0"/>
              </a:spcAft>
              <a:buClr>
                <a:schemeClr val="accent1"/>
              </a:buClr>
              <a:buSzPts val="1800"/>
              <a:buFont typeface="Arial"/>
              <a:buNone/>
              <a:defRPr sz="1800" b="0">
                <a:solidFill>
                  <a:schemeClr val="dk2"/>
                </a:solidFill>
              </a:defRPr>
            </a:lvl1pPr>
            <a:lvl2pPr lvl="1" algn="ctr">
              <a:lnSpc>
                <a:spcPct val="120000"/>
              </a:lnSpc>
              <a:spcBef>
                <a:spcPts val="1200"/>
              </a:spcBef>
              <a:spcAft>
                <a:spcPts val="0"/>
              </a:spcAft>
              <a:buSzPts val="2000"/>
              <a:buNone/>
              <a:defRPr sz="2000"/>
            </a:lvl2pPr>
            <a:lvl3pPr lvl="2" algn="ctr">
              <a:lnSpc>
                <a:spcPct val="120000"/>
              </a:lnSpc>
              <a:spcBef>
                <a:spcPts val="500"/>
              </a:spcBef>
              <a:spcAft>
                <a:spcPts val="0"/>
              </a:spcAft>
              <a:buSzPts val="1800"/>
              <a:buNone/>
              <a:defRPr sz="1800"/>
            </a:lvl3pPr>
            <a:lvl4pPr lvl="3" algn="ctr">
              <a:lnSpc>
                <a:spcPct val="120000"/>
              </a:lnSpc>
              <a:spcBef>
                <a:spcPts val="500"/>
              </a:spcBef>
              <a:spcAft>
                <a:spcPts val="0"/>
              </a:spcAft>
              <a:buSzPts val="1600"/>
              <a:buNone/>
              <a:defRPr sz="1600"/>
            </a:lvl4pPr>
            <a:lvl5pPr lvl="4" algn="ctr">
              <a:lnSpc>
                <a:spcPct val="12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23" name="Google Shape;23;p74"/>
          <p:cNvGrpSpPr/>
          <p:nvPr/>
        </p:nvGrpSpPr>
        <p:grpSpPr>
          <a:xfrm>
            <a:off x="0" y="633352"/>
            <a:ext cx="10978510" cy="6224710"/>
            <a:chOff x="0" y="1800000"/>
            <a:chExt cx="10978510" cy="6224710"/>
          </a:xfrm>
        </p:grpSpPr>
        <p:sp>
          <p:nvSpPr>
            <p:cNvPr id="24" name="Google Shape;24;p74"/>
            <p:cNvSpPr/>
            <p:nvPr/>
          </p:nvSpPr>
          <p:spPr>
            <a:xfrm rot="10800000">
              <a:off x="7920000" y="1800000"/>
              <a:ext cx="3058510" cy="3058510"/>
            </a:xfrm>
            <a:prstGeom prst="teardrop">
              <a:avLst>
                <a:gd name="adj" fmla="val 100000"/>
              </a:avLst>
            </a:prstGeom>
            <a:no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25" name="Google Shape;25;p74"/>
            <p:cNvCxnSpPr>
              <a:stCxn id="24" idx="7"/>
            </p:cNvCxnSpPr>
            <p:nvPr/>
          </p:nvCxnSpPr>
          <p:spPr>
            <a:xfrm rot="10800000">
              <a:off x="0" y="4858510"/>
              <a:ext cx="7920000" cy="0"/>
            </a:xfrm>
            <a:prstGeom prst="straightConnector1">
              <a:avLst/>
            </a:prstGeom>
            <a:noFill/>
            <a:ln w="25400" cap="flat" cmpd="sng">
              <a:solidFill>
                <a:schemeClr val="accent1"/>
              </a:solidFill>
              <a:prstDash val="solid"/>
              <a:miter lim="800000"/>
              <a:headEnd type="none" w="sm" len="sm"/>
              <a:tailEnd type="none" w="sm" len="sm"/>
            </a:ln>
          </p:spPr>
        </p:cxnSp>
        <p:cxnSp>
          <p:nvCxnSpPr>
            <p:cNvPr id="26" name="Google Shape;26;p74"/>
            <p:cNvCxnSpPr>
              <a:stCxn id="24" idx="7"/>
            </p:cNvCxnSpPr>
            <p:nvPr/>
          </p:nvCxnSpPr>
          <p:spPr>
            <a:xfrm>
              <a:off x="7920000" y="4858510"/>
              <a:ext cx="0" cy="3166200"/>
            </a:xfrm>
            <a:prstGeom prst="straightConnector1">
              <a:avLst/>
            </a:prstGeom>
            <a:noFill/>
            <a:ln w="25400" cap="flat" cmpd="sng">
              <a:solidFill>
                <a:schemeClr val="accent1"/>
              </a:solidFill>
              <a:prstDash val="solid"/>
              <a:miter lim="800000"/>
              <a:headEnd type="none" w="sm" len="sm"/>
              <a:tailEnd type="none" w="sm" len="sm"/>
            </a:ln>
          </p:spPr>
        </p:cxnSp>
      </p:grpSp>
    </p:spTree>
    <p:extLst>
      <p:ext uri="{BB962C8B-B14F-4D97-AF65-F5344CB8AC3E}">
        <p14:creationId xmlns:p14="http://schemas.microsoft.com/office/powerpoint/2010/main" val="129818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tyle 1) 2 Features" preserve="1">
  <p:cSld name="(Style 1) 2 Features">
    <p:spTree>
      <p:nvGrpSpPr>
        <p:cNvPr id="1" name="Shape 166"/>
        <p:cNvGrpSpPr/>
        <p:nvPr/>
      </p:nvGrpSpPr>
      <p:grpSpPr>
        <a:xfrm>
          <a:off x="0" y="0"/>
          <a:ext cx="0" cy="0"/>
          <a:chOff x="0" y="0"/>
          <a:chExt cx="0" cy="0"/>
        </a:xfrm>
      </p:grpSpPr>
      <p:sp>
        <p:nvSpPr>
          <p:cNvPr id="167" name="Google Shape;167;p92"/>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 name="Google Shape;168;p92"/>
          <p:cNvSpPr txBox="1">
            <a:spLocks noGrp="1"/>
          </p:cNvSpPr>
          <p:nvPr>
            <p:ph type="body" idx="1"/>
          </p:nvPr>
        </p:nvSpPr>
        <p:spPr>
          <a:xfrm>
            <a:off x="6612002" y="3429000"/>
            <a:ext cx="4320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92"/>
          <p:cNvSpPr txBox="1">
            <a:spLocks noGrp="1"/>
          </p:cNvSpPr>
          <p:nvPr>
            <p:ph type="body" idx="2"/>
          </p:nvPr>
        </p:nvSpPr>
        <p:spPr>
          <a:xfrm>
            <a:off x="6612002" y="4040438"/>
            <a:ext cx="4320000" cy="201746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 name="Google Shape;170;p92"/>
          <p:cNvSpPr>
            <a:spLocks noGrp="1"/>
          </p:cNvSpPr>
          <p:nvPr>
            <p:ph type="pic" idx="3"/>
          </p:nvPr>
        </p:nvSpPr>
        <p:spPr>
          <a:xfrm>
            <a:off x="8052002"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71" name="Google Shape;171;p92"/>
          <p:cNvSpPr txBox="1">
            <a:spLocks noGrp="1"/>
          </p:cNvSpPr>
          <p:nvPr>
            <p:ph type="body" idx="4"/>
          </p:nvPr>
        </p:nvSpPr>
        <p:spPr>
          <a:xfrm>
            <a:off x="1260000" y="3429000"/>
            <a:ext cx="4320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 name="Google Shape;172;p92"/>
          <p:cNvSpPr txBox="1">
            <a:spLocks noGrp="1"/>
          </p:cNvSpPr>
          <p:nvPr>
            <p:ph type="body" idx="5"/>
          </p:nvPr>
        </p:nvSpPr>
        <p:spPr>
          <a:xfrm>
            <a:off x="1260000" y="4040438"/>
            <a:ext cx="4320000" cy="201746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 name="Google Shape;173;p92"/>
          <p:cNvSpPr>
            <a:spLocks noGrp="1"/>
          </p:cNvSpPr>
          <p:nvPr>
            <p:ph type="pic" idx="6"/>
          </p:nvPr>
        </p:nvSpPr>
        <p:spPr>
          <a:xfrm>
            <a:off x="2705533"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74" name="Google Shape;174;p92"/>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7849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tyle 1) 3 Features" preserve="1">
  <p:cSld name="(Style 1) 3 Features">
    <p:spTree>
      <p:nvGrpSpPr>
        <p:cNvPr id="1" name="Shape 175"/>
        <p:cNvGrpSpPr/>
        <p:nvPr/>
      </p:nvGrpSpPr>
      <p:grpSpPr>
        <a:xfrm>
          <a:off x="0" y="0"/>
          <a:ext cx="0" cy="0"/>
          <a:chOff x="0" y="0"/>
          <a:chExt cx="0" cy="0"/>
        </a:xfrm>
      </p:grpSpPr>
      <p:sp>
        <p:nvSpPr>
          <p:cNvPr id="176" name="Google Shape;176;p93"/>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p93"/>
          <p:cNvSpPr txBox="1">
            <a:spLocks noGrp="1"/>
          </p:cNvSpPr>
          <p:nvPr>
            <p:ph type="body" idx="1"/>
          </p:nvPr>
        </p:nvSpPr>
        <p:spPr>
          <a:xfrm>
            <a:off x="4296000" y="3429000"/>
            <a:ext cx="3600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93"/>
          <p:cNvSpPr txBox="1">
            <a:spLocks noGrp="1"/>
          </p:cNvSpPr>
          <p:nvPr>
            <p:ph type="body" idx="2"/>
          </p:nvPr>
        </p:nvSpPr>
        <p:spPr>
          <a:xfrm>
            <a:off x="4296000" y="4040438"/>
            <a:ext cx="3600000" cy="201746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 name="Google Shape;179;p93"/>
          <p:cNvSpPr>
            <a:spLocks noGrp="1"/>
          </p:cNvSpPr>
          <p:nvPr>
            <p:ph type="pic" idx="3"/>
          </p:nvPr>
        </p:nvSpPr>
        <p:spPr>
          <a:xfrm>
            <a:off x="5376000"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80" name="Google Shape;180;p93"/>
          <p:cNvSpPr txBox="1">
            <a:spLocks noGrp="1"/>
          </p:cNvSpPr>
          <p:nvPr>
            <p:ph type="body" idx="4"/>
          </p:nvPr>
        </p:nvSpPr>
        <p:spPr>
          <a:xfrm>
            <a:off x="360000" y="3429000"/>
            <a:ext cx="3600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 name="Google Shape;181;p93"/>
          <p:cNvSpPr txBox="1">
            <a:spLocks noGrp="1"/>
          </p:cNvSpPr>
          <p:nvPr>
            <p:ph type="body" idx="5"/>
          </p:nvPr>
        </p:nvSpPr>
        <p:spPr>
          <a:xfrm>
            <a:off x="360000" y="4040438"/>
            <a:ext cx="3600000" cy="201746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 name="Google Shape;182;p93"/>
          <p:cNvSpPr>
            <a:spLocks noGrp="1"/>
          </p:cNvSpPr>
          <p:nvPr>
            <p:ph type="pic" idx="6"/>
          </p:nvPr>
        </p:nvSpPr>
        <p:spPr>
          <a:xfrm>
            <a:off x="1440000"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83" name="Google Shape;183;p93"/>
          <p:cNvSpPr txBox="1">
            <a:spLocks noGrp="1"/>
          </p:cNvSpPr>
          <p:nvPr>
            <p:ph type="body" idx="7"/>
          </p:nvPr>
        </p:nvSpPr>
        <p:spPr>
          <a:xfrm>
            <a:off x="8213941" y="3429000"/>
            <a:ext cx="3600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 name="Google Shape;184;p93"/>
          <p:cNvSpPr txBox="1">
            <a:spLocks noGrp="1"/>
          </p:cNvSpPr>
          <p:nvPr>
            <p:ph type="body" idx="8"/>
          </p:nvPr>
        </p:nvSpPr>
        <p:spPr>
          <a:xfrm>
            <a:off x="8213941" y="4040438"/>
            <a:ext cx="3600000" cy="201746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93"/>
          <p:cNvSpPr>
            <a:spLocks noGrp="1"/>
          </p:cNvSpPr>
          <p:nvPr>
            <p:ph type="pic" idx="9"/>
          </p:nvPr>
        </p:nvSpPr>
        <p:spPr>
          <a:xfrm>
            <a:off x="9293941"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86" name="Google Shape;186;p93"/>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1014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tyle 1) 4 Features" preserve="1">
  <p:cSld name="(Style 1) 4 Features">
    <p:spTree>
      <p:nvGrpSpPr>
        <p:cNvPr id="1" name="Shape 187"/>
        <p:cNvGrpSpPr/>
        <p:nvPr/>
      </p:nvGrpSpPr>
      <p:grpSpPr>
        <a:xfrm>
          <a:off x="0" y="0"/>
          <a:ext cx="0" cy="0"/>
          <a:chOff x="0" y="0"/>
          <a:chExt cx="0" cy="0"/>
        </a:xfrm>
      </p:grpSpPr>
      <p:sp>
        <p:nvSpPr>
          <p:cNvPr id="188" name="Google Shape;188;p94"/>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 name="Google Shape;189;p94"/>
          <p:cNvSpPr txBox="1">
            <a:spLocks noGrp="1"/>
          </p:cNvSpPr>
          <p:nvPr>
            <p:ph type="body" idx="1"/>
          </p:nvPr>
        </p:nvSpPr>
        <p:spPr>
          <a:xfrm>
            <a:off x="360000" y="3430420"/>
            <a:ext cx="2376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 name="Google Shape;190;p94"/>
          <p:cNvSpPr txBox="1">
            <a:spLocks noGrp="1"/>
          </p:cNvSpPr>
          <p:nvPr>
            <p:ph type="body" idx="2"/>
          </p:nvPr>
        </p:nvSpPr>
        <p:spPr>
          <a:xfrm>
            <a:off x="360000" y="4041858"/>
            <a:ext cx="2376000" cy="201604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 name="Google Shape;191;p94"/>
          <p:cNvSpPr>
            <a:spLocks noGrp="1"/>
          </p:cNvSpPr>
          <p:nvPr>
            <p:ph type="pic" idx="3"/>
          </p:nvPr>
        </p:nvSpPr>
        <p:spPr>
          <a:xfrm>
            <a:off x="828000"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92" name="Google Shape;192;p94"/>
          <p:cNvSpPr txBox="1">
            <a:spLocks noGrp="1"/>
          </p:cNvSpPr>
          <p:nvPr>
            <p:ph type="body" idx="4"/>
          </p:nvPr>
        </p:nvSpPr>
        <p:spPr>
          <a:xfrm>
            <a:off x="9437940" y="3429000"/>
            <a:ext cx="2376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 name="Google Shape;193;p94"/>
          <p:cNvSpPr txBox="1">
            <a:spLocks noGrp="1"/>
          </p:cNvSpPr>
          <p:nvPr>
            <p:ph type="body" idx="5"/>
          </p:nvPr>
        </p:nvSpPr>
        <p:spPr>
          <a:xfrm>
            <a:off x="9437940" y="4040438"/>
            <a:ext cx="2376000" cy="201604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94"/>
          <p:cNvSpPr>
            <a:spLocks noGrp="1"/>
          </p:cNvSpPr>
          <p:nvPr>
            <p:ph type="pic" idx="6"/>
          </p:nvPr>
        </p:nvSpPr>
        <p:spPr>
          <a:xfrm>
            <a:off x="9905940"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95" name="Google Shape;195;p94"/>
          <p:cNvSpPr txBox="1">
            <a:spLocks noGrp="1"/>
          </p:cNvSpPr>
          <p:nvPr>
            <p:ph type="body" idx="7"/>
          </p:nvPr>
        </p:nvSpPr>
        <p:spPr>
          <a:xfrm>
            <a:off x="3385980" y="3429000"/>
            <a:ext cx="2376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 name="Google Shape;196;p94"/>
          <p:cNvSpPr txBox="1">
            <a:spLocks noGrp="1"/>
          </p:cNvSpPr>
          <p:nvPr>
            <p:ph type="body" idx="8"/>
          </p:nvPr>
        </p:nvSpPr>
        <p:spPr>
          <a:xfrm>
            <a:off x="3385980" y="4040438"/>
            <a:ext cx="2376000" cy="201604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94"/>
          <p:cNvSpPr>
            <a:spLocks noGrp="1"/>
          </p:cNvSpPr>
          <p:nvPr>
            <p:ph type="pic" idx="9"/>
          </p:nvPr>
        </p:nvSpPr>
        <p:spPr>
          <a:xfrm>
            <a:off x="3853980"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98" name="Google Shape;198;p94"/>
          <p:cNvSpPr txBox="1">
            <a:spLocks noGrp="1"/>
          </p:cNvSpPr>
          <p:nvPr>
            <p:ph type="body" idx="13"/>
          </p:nvPr>
        </p:nvSpPr>
        <p:spPr>
          <a:xfrm>
            <a:off x="6400000" y="3429000"/>
            <a:ext cx="2376000" cy="611438"/>
          </a:xfrm>
          <a:prstGeom prst="rect">
            <a:avLst/>
          </a:prstGeom>
          <a:noFill/>
          <a:ln>
            <a:noFill/>
          </a:ln>
        </p:spPr>
        <p:txBody>
          <a:bodyPr spcFirstLastPara="1" wrap="square" lIns="0" tIns="0" rIns="0" bIns="0" anchor="ctr" anchorCtr="0">
            <a:normAutofit/>
          </a:bodyPr>
          <a:lstStyle>
            <a:lvl1pPr marL="457200" lvl="0" indent="-228600" algn="ctr">
              <a:lnSpc>
                <a:spcPct val="120000"/>
              </a:lnSpc>
              <a:spcBef>
                <a:spcPts val="1200"/>
              </a:spcBef>
              <a:spcAft>
                <a:spcPts val="0"/>
              </a:spcAft>
              <a:buSzPts val="2000"/>
              <a:buNone/>
              <a:defRPr sz="2000" b="1"/>
            </a:lvl1pPr>
            <a:lvl2pPr marL="914400" lvl="1" indent="-228600" algn="ctr">
              <a:lnSpc>
                <a:spcPct val="120000"/>
              </a:lnSpc>
              <a:spcBef>
                <a:spcPts val="1200"/>
              </a:spcBef>
              <a:spcAft>
                <a:spcPts val="0"/>
              </a:spcAft>
              <a:buSzPts val="2000"/>
              <a:buNone/>
              <a:defRPr sz="2000" b="1"/>
            </a:lvl2pPr>
            <a:lvl3pPr marL="1371600" lvl="2" indent="-228600" algn="ctr">
              <a:lnSpc>
                <a:spcPct val="120000"/>
              </a:lnSpc>
              <a:spcBef>
                <a:spcPts val="500"/>
              </a:spcBef>
              <a:spcAft>
                <a:spcPts val="0"/>
              </a:spcAft>
              <a:buSzPts val="2000"/>
              <a:buNone/>
              <a:defRPr sz="2000" b="1"/>
            </a:lvl3pPr>
            <a:lvl4pPr marL="1828800" lvl="3" indent="-228600" algn="ctr">
              <a:lnSpc>
                <a:spcPct val="120000"/>
              </a:lnSpc>
              <a:spcBef>
                <a:spcPts val="500"/>
              </a:spcBef>
              <a:spcAft>
                <a:spcPts val="0"/>
              </a:spcAft>
              <a:buSzPts val="2000"/>
              <a:buNone/>
              <a:defRPr sz="2000" b="1"/>
            </a:lvl4pPr>
            <a:lvl5pPr marL="2286000" lvl="4" indent="-228600" algn="ctr">
              <a:lnSpc>
                <a:spcPct val="120000"/>
              </a:lnSpc>
              <a:spcBef>
                <a:spcPts val="500"/>
              </a:spcBef>
              <a:spcAft>
                <a:spcPts val="0"/>
              </a:spcAft>
              <a:buSzPts val="2000"/>
              <a:buNone/>
              <a:defRPr sz="2000"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 name="Google Shape;199;p94"/>
          <p:cNvSpPr txBox="1">
            <a:spLocks noGrp="1"/>
          </p:cNvSpPr>
          <p:nvPr>
            <p:ph type="body" idx="14"/>
          </p:nvPr>
        </p:nvSpPr>
        <p:spPr>
          <a:xfrm>
            <a:off x="6390463" y="4040438"/>
            <a:ext cx="2376000" cy="2016042"/>
          </a:xfrm>
          <a:prstGeom prst="rect">
            <a:avLst/>
          </a:prstGeom>
          <a:noFill/>
          <a:ln>
            <a:noFill/>
          </a:ln>
        </p:spPr>
        <p:txBody>
          <a:bodyPr spcFirstLastPara="1" wrap="square" lIns="0" tIns="0" rIns="0" bIns="0" anchor="t" anchorCtr="0">
            <a:normAutofit/>
          </a:bodyPr>
          <a:lstStyle>
            <a:lvl1pPr marL="457200" lvl="0" indent="-228600" algn="ctr">
              <a:lnSpc>
                <a:spcPct val="120000"/>
              </a:lnSpc>
              <a:spcBef>
                <a:spcPts val="1200"/>
              </a:spcBef>
              <a:spcAft>
                <a:spcPts val="0"/>
              </a:spcAft>
              <a:buSzPts val="1600"/>
              <a:buNone/>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 name="Google Shape;200;p94"/>
          <p:cNvSpPr>
            <a:spLocks noGrp="1"/>
          </p:cNvSpPr>
          <p:nvPr>
            <p:ph type="pic" idx="15"/>
          </p:nvPr>
        </p:nvSpPr>
        <p:spPr>
          <a:xfrm>
            <a:off x="6868000" y="1800000"/>
            <a:ext cx="1440000" cy="1440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1" name="Google Shape;201;p94"/>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4826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tyle 1) Title Only" type="titleOnly" preserve="1">
  <p:cSld name="(Style 1) Title Only">
    <p:spTree>
      <p:nvGrpSpPr>
        <p:cNvPr id="1" name="Shape 202"/>
        <p:cNvGrpSpPr/>
        <p:nvPr/>
      </p:nvGrpSpPr>
      <p:grpSpPr>
        <a:xfrm>
          <a:off x="0" y="0"/>
          <a:ext cx="0" cy="0"/>
          <a:chOff x="0" y="0"/>
          <a:chExt cx="0" cy="0"/>
        </a:xfrm>
      </p:grpSpPr>
      <p:sp>
        <p:nvSpPr>
          <p:cNvPr id="203" name="Google Shape;203;p95"/>
          <p:cNvSpPr txBox="1">
            <a:spLocks noGrp="1"/>
          </p:cNvSpPr>
          <p:nvPr>
            <p:ph type="title"/>
          </p:nvPr>
        </p:nvSpPr>
        <p:spPr>
          <a:xfrm>
            <a:off x="360000" y="360000"/>
            <a:ext cx="11453940"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95"/>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3736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tyle 1) 4 Columns Image &amp; Text" preserve="1">
  <p:cSld name="(Style 1) 4 Columns Image &amp; Text">
    <p:spTree>
      <p:nvGrpSpPr>
        <p:cNvPr id="1" name="Shape 205"/>
        <p:cNvGrpSpPr/>
        <p:nvPr/>
      </p:nvGrpSpPr>
      <p:grpSpPr>
        <a:xfrm>
          <a:off x="0" y="0"/>
          <a:ext cx="0" cy="0"/>
          <a:chOff x="0" y="0"/>
          <a:chExt cx="0" cy="0"/>
        </a:xfrm>
      </p:grpSpPr>
      <p:sp>
        <p:nvSpPr>
          <p:cNvPr id="206" name="Google Shape;206;p96"/>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7" name="Google Shape;207;p96"/>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08" name="Google Shape;208;p96"/>
          <p:cNvSpPr>
            <a:spLocks noGrp="1"/>
          </p:cNvSpPr>
          <p:nvPr>
            <p:ph type="pic" idx="2"/>
          </p:nvPr>
        </p:nvSpPr>
        <p:spPr>
          <a:xfrm>
            <a:off x="360000" y="1080000"/>
            <a:ext cx="2818800"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9" name="Google Shape;209;p96"/>
          <p:cNvSpPr txBox="1">
            <a:spLocks noGrp="1"/>
          </p:cNvSpPr>
          <p:nvPr>
            <p:ph type="body" idx="1"/>
          </p:nvPr>
        </p:nvSpPr>
        <p:spPr>
          <a:xfrm>
            <a:off x="361051" y="4767326"/>
            <a:ext cx="2818800"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 name="Google Shape;210;p96"/>
          <p:cNvSpPr>
            <a:spLocks noGrp="1"/>
          </p:cNvSpPr>
          <p:nvPr>
            <p:ph type="pic" idx="3"/>
          </p:nvPr>
        </p:nvSpPr>
        <p:spPr>
          <a:xfrm>
            <a:off x="3239015" y="1080000"/>
            <a:ext cx="2818800"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1" name="Google Shape;211;p96"/>
          <p:cNvSpPr txBox="1">
            <a:spLocks noGrp="1"/>
          </p:cNvSpPr>
          <p:nvPr>
            <p:ph type="body" idx="4"/>
          </p:nvPr>
        </p:nvSpPr>
        <p:spPr>
          <a:xfrm>
            <a:off x="3239081" y="4767326"/>
            <a:ext cx="2818800"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 name="Google Shape;212;p96"/>
          <p:cNvSpPr>
            <a:spLocks noGrp="1"/>
          </p:cNvSpPr>
          <p:nvPr>
            <p:ph type="pic" idx="5"/>
          </p:nvPr>
        </p:nvSpPr>
        <p:spPr>
          <a:xfrm>
            <a:off x="6118030" y="1080000"/>
            <a:ext cx="2818800"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3" name="Google Shape;213;p96"/>
          <p:cNvSpPr txBox="1">
            <a:spLocks noGrp="1"/>
          </p:cNvSpPr>
          <p:nvPr>
            <p:ph type="body" idx="6"/>
          </p:nvPr>
        </p:nvSpPr>
        <p:spPr>
          <a:xfrm>
            <a:off x="6117111" y="4767326"/>
            <a:ext cx="2818800"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96"/>
          <p:cNvSpPr>
            <a:spLocks noGrp="1"/>
          </p:cNvSpPr>
          <p:nvPr>
            <p:ph type="pic" idx="7"/>
          </p:nvPr>
        </p:nvSpPr>
        <p:spPr>
          <a:xfrm>
            <a:off x="8997045" y="1080000"/>
            <a:ext cx="2818800"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15" name="Google Shape;215;p96"/>
          <p:cNvSpPr txBox="1">
            <a:spLocks noGrp="1"/>
          </p:cNvSpPr>
          <p:nvPr>
            <p:ph type="body" idx="8"/>
          </p:nvPr>
        </p:nvSpPr>
        <p:spPr>
          <a:xfrm>
            <a:off x="8995140" y="4767326"/>
            <a:ext cx="2818800"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409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tyle 1) 5 Columns Image &amp; Text" preserve="1">
  <p:cSld name="(Style 1) 5 Columns Image &amp; Text">
    <p:spTree>
      <p:nvGrpSpPr>
        <p:cNvPr id="1" name="Shape 216"/>
        <p:cNvGrpSpPr/>
        <p:nvPr/>
      </p:nvGrpSpPr>
      <p:grpSpPr>
        <a:xfrm>
          <a:off x="0" y="0"/>
          <a:ext cx="0" cy="0"/>
          <a:chOff x="0" y="0"/>
          <a:chExt cx="0" cy="0"/>
        </a:xfrm>
      </p:grpSpPr>
      <p:sp>
        <p:nvSpPr>
          <p:cNvPr id="217" name="Google Shape;217;p97"/>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97"/>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19" name="Google Shape;219;p97"/>
          <p:cNvSpPr>
            <a:spLocks noGrp="1"/>
          </p:cNvSpPr>
          <p:nvPr>
            <p:ph type="pic" idx="2"/>
          </p:nvPr>
        </p:nvSpPr>
        <p:spPr>
          <a:xfrm>
            <a:off x="360000" y="1080000"/>
            <a:ext cx="2249424"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0" name="Google Shape;220;p97"/>
          <p:cNvSpPr txBox="1">
            <a:spLocks noGrp="1"/>
          </p:cNvSpPr>
          <p:nvPr>
            <p:ph type="body" idx="1"/>
          </p:nvPr>
        </p:nvSpPr>
        <p:spPr>
          <a:xfrm>
            <a:off x="360045" y="4767326"/>
            <a:ext cx="2249488"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 name="Google Shape;221;p97"/>
          <p:cNvSpPr>
            <a:spLocks noGrp="1"/>
          </p:cNvSpPr>
          <p:nvPr>
            <p:ph type="pic" idx="3"/>
          </p:nvPr>
        </p:nvSpPr>
        <p:spPr>
          <a:xfrm>
            <a:off x="2663357" y="1080000"/>
            <a:ext cx="2249424"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2" name="Google Shape;222;p97"/>
          <p:cNvSpPr txBox="1">
            <a:spLocks noGrp="1"/>
          </p:cNvSpPr>
          <p:nvPr>
            <p:ph type="body" idx="4"/>
          </p:nvPr>
        </p:nvSpPr>
        <p:spPr>
          <a:xfrm>
            <a:off x="2663390" y="4767326"/>
            <a:ext cx="2249488"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 name="Google Shape;223;p97"/>
          <p:cNvSpPr>
            <a:spLocks noGrp="1"/>
          </p:cNvSpPr>
          <p:nvPr>
            <p:ph type="pic" idx="5"/>
          </p:nvPr>
        </p:nvSpPr>
        <p:spPr>
          <a:xfrm>
            <a:off x="4966714" y="1080000"/>
            <a:ext cx="2249424"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4" name="Google Shape;224;p97"/>
          <p:cNvSpPr txBox="1">
            <a:spLocks noGrp="1"/>
          </p:cNvSpPr>
          <p:nvPr>
            <p:ph type="body" idx="6"/>
          </p:nvPr>
        </p:nvSpPr>
        <p:spPr>
          <a:xfrm>
            <a:off x="4966735" y="4767326"/>
            <a:ext cx="2249488"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 name="Google Shape;225;p97"/>
          <p:cNvSpPr>
            <a:spLocks noGrp="1"/>
          </p:cNvSpPr>
          <p:nvPr>
            <p:ph type="pic" idx="7"/>
          </p:nvPr>
        </p:nvSpPr>
        <p:spPr>
          <a:xfrm>
            <a:off x="7270071" y="1080000"/>
            <a:ext cx="2249424"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6" name="Google Shape;226;p97"/>
          <p:cNvSpPr txBox="1">
            <a:spLocks noGrp="1"/>
          </p:cNvSpPr>
          <p:nvPr>
            <p:ph type="body" idx="8"/>
          </p:nvPr>
        </p:nvSpPr>
        <p:spPr>
          <a:xfrm>
            <a:off x="7270080" y="4767326"/>
            <a:ext cx="2249488"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97"/>
          <p:cNvSpPr>
            <a:spLocks noGrp="1"/>
          </p:cNvSpPr>
          <p:nvPr>
            <p:ph type="pic" idx="9"/>
          </p:nvPr>
        </p:nvSpPr>
        <p:spPr>
          <a:xfrm>
            <a:off x="9573426" y="1080000"/>
            <a:ext cx="2249424" cy="3694176"/>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28" name="Google Shape;228;p97"/>
          <p:cNvSpPr txBox="1">
            <a:spLocks noGrp="1"/>
          </p:cNvSpPr>
          <p:nvPr>
            <p:ph type="body" idx="13"/>
          </p:nvPr>
        </p:nvSpPr>
        <p:spPr>
          <a:xfrm>
            <a:off x="9573426" y="4767326"/>
            <a:ext cx="2249488" cy="1290574"/>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500"/>
              </a:spcBef>
              <a:spcAft>
                <a:spcPts val="0"/>
              </a:spcAft>
              <a:buSzPts val="1600"/>
              <a:buChar char="•"/>
              <a:defRPr>
                <a:solidFill>
                  <a:schemeClr val="dk1"/>
                </a:solidFill>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408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tyle 2) 3 Columns" preserve="1">
  <p:cSld name="(Style 2) 3 Columns">
    <p:spTree>
      <p:nvGrpSpPr>
        <p:cNvPr id="1" name="Shape 229"/>
        <p:cNvGrpSpPr/>
        <p:nvPr/>
      </p:nvGrpSpPr>
      <p:grpSpPr>
        <a:xfrm>
          <a:off x="0" y="0"/>
          <a:ext cx="0" cy="0"/>
          <a:chOff x="0" y="0"/>
          <a:chExt cx="0" cy="0"/>
        </a:xfrm>
      </p:grpSpPr>
      <p:sp>
        <p:nvSpPr>
          <p:cNvPr id="230" name="Google Shape;230;p98"/>
          <p:cNvSpPr txBox="1">
            <a:spLocks noGrp="1"/>
          </p:cNvSpPr>
          <p:nvPr>
            <p:ph type="body" idx="1"/>
          </p:nvPr>
        </p:nvSpPr>
        <p:spPr>
          <a:xfrm>
            <a:off x="9437940" y="359043"/>
            <a:ext cx="2376000" cy="5698857"/>
          </a:xfrm>
          <a:prstGeom prst="rect">
            <a:avLst/>
          </a:prstGeom>
          <a:noFill/>
          <a:ln>
            <a:noFill/>
          </a:ln>
        </p:spPr>
        <p:txBody>
          <a:bodyPr spcFirstLastPara="1" wrap="square" lIns="0" tIns="0" rIns="0" bIns="0" anchor="t" anchorCtr="0">
            <a:noAutofit/>
          </a:bodyPr>
          <a:lstStyle>
            <a:lvl1pPr marL="457200" lvl="0" indent="-228600" algn="ctr">
              <a:lnSpc>
                <a:spcPct val="120000"/>
              </a:lnSpc>
              <a:spcBef>
                <a:spcPts val="1200"/>
              </a:spcBef>
              <a:spcAft>
                <a:spcPts val="0"/>
              </a:spcAft>
              <a:buSzPts val="1000"/>
              <a:buNone/>
              <a:defRPr sz="1000">
                <a:solidFill>
                  <a:schemeClr val="dk1"/>
                </a:solidFill>
                <a:latin typeface="Arial"/>
                <a:ea typeface="Arial"/>
                <a:cs typeface="Arial"/>
                <a:sym typeface="Arial"/>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98"/>
          <p:cNvSpPr txBox="1">
            <a:spLocks noGrp="1"/>
          </p:cNvSpPr>
          <p:nvPr>
            <p:ph type="body" idx="2"/>
          </p:nvPr>
        </p:nvSpPr>
        <p:spPr>
          <a:xfrm>
            <a:off x="3385980" y="358775"/>
            <a:ext cx="2376000" cy="5699125"/>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1200"/>
              </a:spcBef>
              <a:spcAft>
                <a:spcPts val="0"/>
              </a:spcAft>
              <a:buSzPts val="1000"/>
              <a:buNone/>
              <a:defRPr sz="1000">
                <a:solidFill>
                  <a:schemeClr val="dk1"/>
                </a:solidFill>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 name="Google Shape;232;p98"/>
          <p:cNvSpPr txBox="1">
            <a:spLocks noGrp="1"/>
          </p:cNvSpPr>
          <p:nvPr>
            <p:ph type="body" idx="3"/>
          </p:nvPr>
        </p:nvSpPr>
        <p:spPr>
          <a:xfrm>
            <a:off x="6390463" y="358777"/>
            <a:ext cx="2376000" cy="5699089"/>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1200"/>
              </a:spcBef>
              <a:spcAft>
                <a:spcPts val="0"/>
              </a:spcAft>
              <a:buSzPts val="1000"/>
              <a:buNone/>
              <a:defRPr sz="1000">
                <a:solidFill>
                  <a:schemeClr val="dk1"/>
                </a:solidFill>
                <a:latin typeface="Arial"/>
                <a:ea typeface="Arial"/>
                <a:cs typeface="Arial"/>
                <a:sym typeface="Arial"/>
              </a:defRPr>
            </a:lvl1pPr>
            <a:lvl2pPr marL="914400" lvl="1" indent="-228600" algn="ctr">
              <a:lnSpc>
                <a:spcPct val="120000"/>
              </a:lnSpc>
              <a:spcBef>
                <a:spcPts val="1200"/>
              </a:spcBef>
              <a:spcAft>
                <a:spcPts val="0"/>
              </a:spcAft>
              <a:buSzPts val="1200"/>
              <a:buNone/>
              <a:defRPr sz="1200" b="0"/>
            </a:lvl2pPr>
            <a:lvl3pPr marL="1371600" lvl="2" indent="-228600" algn="ctr">
              <a:lnSpc>
                <a:spcPct val="120000"/>
              </a:lnSpc>
              <a:spcBef>
                <a:spcPts val="500"/>
              </a:spcBef>
              <a:spcAft>
                <a:spcPts val="0"/>
              </a:spcAft>
              <a:buSzPts val="1200"/>
              <a:buNone/>
              <a:defRPr sz="1200" b="0"/>
            </a:lvl3pPr>
            <a:lvl4pPr marL="1828800" lvl="3" indent="-228600" algn="ctr">
              <a:lnSpc>
                <a:spcPct val="120000"/>
              </a:lnSpc>
              <a:spcBef>
                <a:spcPts val="500"/>
              </a:spcBef>
              <a:spcAft>
                <a:spcPts val="0"/>
              </a:spcAft>
              <a:buSzPts val="1200"/>
              <a:buNone/>
              <a:defRPr sz="1200" b="0"/>
            </a:lvl4pPr>
            <a:lvl5pPr marL="2286000" lvl="4" indent="-228600" algn="ctr">
              <a:lnSpc>
                <a:spcPct val="120000"/>
              </a:lnSpc>
              <a:spcBef>
                <a:spcPts val="500"/>
              </a:spcBef>
              <a:spcAft>
                <a:spcPts val="0"/>
              </a:spcAft>
              <a:buSzPts val="1200"/>
              <a:buNone/>
              <a:defRPr sz="1200" b="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 name="Google Shape;233;p98"/>
          <p:cNvSpPr txBox="1">
            <a:spLocks noGrp="1"/>
          </p:cNvSpPr>
          <p:nvPr>
            <p:ph type="title"/>
          </p:nvPr>
        </p:nvSpPr>
        <p:spPr>
          <a:xfrm>
            <a:off x="352425" y="358775"/>
            <a:ext cx="2423133" cy="5699125"/>
          </a:xfrm>
          <a:prstGeom prst="rect">
            <a:avLst/>
          </a:prstGeom>
          <a:noFill/>
          <a:ln>
            <a:noFill/>
          </a:ln>
        </p:spPr>
        <p:txBody>
          <a:bodyPr spcFirstLastPara="1" wrap="square" lIns="0" tIns="0" rIns="0" bIns="0" anchor="t" anchorCtr="0">
            <a:no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 name="Google Shape;234;p98"/>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9486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3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tyle 2) 2 Text Boxes " preserve="1">
  <p:cSld name="(Style 2) 2 Text Boxes ">
    <p:spTree>
      <p:nvGrpSpPr>
        <p:cNvPr id="1" name="Shape 235"/>
        <p:cNvGrpSpPr/>
        <p:nvPr/>
      </p:nvGrpSpPr>
      <p:grpSpPr>
        <a:xfrm>
          <a:off x="0" y="0"/>
          <a:ext cx="0" cy="0"/>
          <a:chOff x="0" y="0"/>
          <a:chExt cx="0" cy="0"/>
        </a:xfrm>
      </p:grpSpPr>
      <p:sp>
        <p:nvSpPr>
          <p:cNvPr id="236" name="Google Shape;236;p99"/>
          <p:cNvSpPr txBox="1">
            <a:spLocks noGrp="1"/>
          </p:cNvSpPr>
          <p:nvPr>
            <p:ph type="title"/>
          </p:nvPr>
        </p:nvSpPr>
        <p:spPr>
          <a:xfrm>
            <a:off x="352425" y="358775"/>
            <a:ext cx="3602736" cy="1455507"/>
          </a:xfrm>
          <a:prstGeom prst="rect">
            <a:avLst/>
          </a:prstGeom>
          <a:noFill/>
          <a:ln>
            <a:noFill/>
          </a:ln>
        </p:spPr>
        <p:txBody>
          <a:bodyPr spcFirstLastPara="1" wrap="square" lIns="0" tIns="0" rIns="0" bIns="0" anchor="t" anchorCtr="0">
            <a:norm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 name="Google Shape;237;p99"/>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cxnSp>
        <p:nvCxnSpPr>
          <p:cNvPr id="238" name="Google Shape;238;p99"/>
          <p:cNvCxnSpPr/>
          <p:nvPr/>
        </p:nvCxnSpPr>
        <p:spPr>
          <a:xfrm>
            <a:off x="4291351" y="358775"/>
            <a:ext cx="7522589" cy="0"/>
          </a:xfrm>
          <a:prstGeom prst="straightConnector1">
            <a:avLst/>
          </a:prstGeom>
          <a:noFill/>
          <a:ln w="9525" cap="flat" cmpd="sng">
            <a:solidFill>
              <a:srgbClr val="C8C8CB"/>
            </a:solidFill>
            <a:prstDash val="solid"/>
            <a:miter lim="400000"/>
            <a:headEnd type="none" w="sm" len="sm"/>
            <a:tailEnd type="none" w="sm" len="sm"/>
          </a:ln>
        </p:spPr>
      </p:cxnSp>
      <p:sp>
        <p:nvSpPr>
          <p:cNvPr id="239" name="Google Shape;239;p99"/>
          <p:cNvSpPr txBox="1">
            <a:spLocks noGrp="1"/>
          </p:cNvSpPr>
          <p:nvPr>
            <p:ph type="body" idx="1"/>
          </p:nvPr>
        </p:nvSpPr>
        <p:spPr>
          <a:xfrm>
            <a:off x="4305600" y="544882"/>
            <a:ext cx="7508340" cy="550450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99"/>
          <p:cNvSpPr txBox="1">
            <a:spLocks noGrp="1"/>
          </p:cNvSpPr>
          <p:nvPr>
            <p:ph type="body" idx="2"/>
          </p:nvPr>
        </p:nvSpPr>
        <p:spPr>
          <a:xfrm>
            <a:off x="352800" y="1958400"/>
            <a:ext cx="3600450"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7799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guide id="3" orient="horz" pos="45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tyle 2) 3 Text Boxes " preserve="1">
  <p:cSld name="(Style 2) 3 Text Boxes ">
    <p:spTree>
      <p:nvGrpSpPr>
        <p:cNvPr id="1" name="Shape 241"/>
        <p:cNvGrpSpPr/>
        <p:nvPr/>
      </p:nvGrpSpPr>
      <p:grpSpPr>
        <a:xfrm>
          <a:off x="0" y="0"/>
          <a:ext cx="0" cy="0"/>
          <a:chOff x="0" y="0"/>
          <a:chExt cx="0" cy="0"/>
        </a:xfrm>
      </p:grpSpPr>
      <p:cxnSp>
        <p:nvCxnSpPr>
          <p:cNvPr id="242" name="Google Shape;242;p100"/>
          <p:cNvCxnSpPr/>
          <p:nvPr/>
        </p:nvCxnSpPr>
        <p:spPr>
          <a:xfrm>
            <a:off x="4291351" y="358775"/>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243" name="Google Shape;243;p100"/>
          <p:cNvCxnSpPr/>
          <p:nvPr/>
        </p:nvCxnSpPr>
        <p:spPr>
          <a:xfrm>
            <a:off x="8205805" y="358775"/>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244" name="Google Shape;244;p100"/>
          <p:cNvSpPr txBox="1">
            <a:spLocks noGrp="1"/>
          </p:cNvSpPr>
          <p:nvPr>
            <p:ph type="title"/>
          </p:nvPr>
        </p:nvSpPr>
        <p:spPr>
          <a:xfrm>
            <a:off x="352425" y="358775"/>
            <a:ext cx="3602736" cy="1455507"/>
          </a:xfrm>
          <a:prstGeom prst="rect">
            <a:avLst/>
          </a:prstGeom>
          <a:noFill/>
          <a:ln>
            <a:noFill/>
          </a:ln>
        </p:spPr>
        <p:txBody>
          <a:bodyPr spcFirstLastPara="1" wrap="square" lIns="0" tIns="0" rIns="0" bIns="0" anchor="t" anchorCtr="0">
            <a:norm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 name="Google Shape;245;p100"/>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46" name="Google Shape;246;p100"/>
          <p:cNvSpPr txBox="1">
            <a:spLocks noGrp="1"/>
          </p:cNvSpPr>
          <p:nvPr>
            <p:ph type="body" idx="1"/>
          </p:nvPr>
        </p:nvSpPr>
        <p:spPr>
          <a:xfrm>
            <a:off x="4305600" y="544882"/>
            <a:ext cx="3600000" cy="5505082"/>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100"/>
          <p:cNvSpPr txBox="1">
            <a:spLocks noGrp="1"/>
          </p:cNvSpPr>
          <p:nvPr>
            <p:ph type="body" idx="2"/>
          </p:nvPr>
        </p:nvSpPr>
        <p:spPr>
          <a:xfrm>
            <a:off x="8218800" y="544882"/>
            <a:ext cx="3600000" cy="5505082"/>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 name="Google Shape;248;p100"/>
          <p:cNvSpPr txBox="1">
            <a:spLocks noGrp="1"/>
          </p:cNvSpPr>
          <p:nvPr>
            <p:ph type="body" idx="3"/>
          </p:nvPr>
        </p:nvSpPr>
        <p:spPr>
          <a:xfrm>
            <a:off x="352800" y="1958400"/>
            <a:ext cx="3600450"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5717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guide id="3" orient="horz" pos="45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Style 2) 4 Text Boxes " preserve="1">
  <p:cSld name="(Style 2) 4 Text Boxes ">
    <p:spTree>
      <p:nvGrpSpPr>
        <p:cNvPr id="1" name="Shape 249"/>
        <p:cNvGrpSpPr/>
        <p:nvPr/>
      </p:nvGrpSpPr>
      <p:grpSpPr>
        <a:xfrm>
          <a:off x="0" y="0"/>
          <a:ext cx="0" cy="0"/>
          <a:chOff x="0" y="0"/>
          <a:chExt cx="0" cy="0"/>
        </a:xfrm>
      </p:grpSpPr>
      <p:cxnSp>
        <p:nvCxnSpPr>
          <p:cNvPr id="250" name="Google Shape;250;p101"/>
          <p:cNvCxnSpPr/>
          <p:nvPr/>
        </p:nvCxnSpPr>
        <p:spPr>
          <a:xfrm>
            <a:off x="4291351" y="358775"/>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251" name="Google Shape;251;p101"/>
          <p:cNvCxnSpPr/>
          <p:nvPr/>
        </p:nvCxnSpPr>
        <p:spPr>
          <a:xfrm>
            <a:off x="8205805" y="358775"/>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252" name="Google Shape;252;p101"/>
          <p:cNvSpPr txBox="1">
            <a:spLocks noGrp="1"/>
          </p:cNvSpPr>
          <p:nvPr>
            <p:ph type="title"/>
          </p:nvPr>
        </p:nvSpPr>
        <p:spPr>
          <a:xfrm>
            <a:off x="352425" y="358775"/>
            <a:ext cx="3602736" cy="1455507"/>
          </a:xfrm>
          <a:prstGeom prst="rect">
            <a:avLst/>
          </a:prstGeom>
          <a:noFill/>
          <a:ln>
            <a:noFill/>
          </a:ln>
        </p:spPr>
        <p:txBody>
          <a:bodyPr spcFirstLastPara="1" wrap="square" lIns="0" tIns="0" rIns="0" bIns="0" anchor="t" anchorCtr="0">
            <a:norm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3" name="Google Shape;253;p101"/>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54" name="Google Shape;254;p101"/>
          <p:cNvSpPr txBox="1">
            <a:spLocks noGrp="1"/>
          </p:cNvSpPr>
          <p:nvPr>
            <p:ph type="body" idx="1"/>
          </p:nvPr>
        </p:nvSpPr>
        <p:spPr>
          <a:xfrm>
            <a:off x="4305600" y="543469"/>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 name="Google Shape;255;p101"/>
          <p:cNvSpPr txBox="1">
            <a:spLocks noGrp="1"/>
          </p:cNvSpPr>
          <p:nvPr>
            <p:ph type="body" idx="2"/>
          </p:nvPr>
        </p:nvSpPr>
        <p:spPr>
          <a:xfrm>
            <a:off x="8218800" y="543469"/>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 name="Google Shape;256;p101"/>
          <p:cNvSpPr txBox="1">
            <a:spLocks noGrp="1"/>
          </p:cNvSpPr>
          <p:nvPr>
            <p:ph type="body" idx="3"/>
          </p:nvPr>
        </p:nvSpPr>
        <p:spPr>
          <a:xfrm>
            <a:off x="352800" y="1958400"/>
            <a:ext cx="3600450"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 name="Google Shape;257;p101"/>
          <p:cNvCxnSpPr/>
          <p:nvPr/>
        </p:nvCxnSpPr>
        <p:spPr>
          <a:xfrm>
            <a:off x="4291351" y="3346232"/>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258" name="Google Shape;258;p101"/>
          <p:cNvSpPr txBox="1">
            <a:spLocks noGrp="1"/>
          </p:cNvSpPr>
          <p:nvPr>
            <p:ph type="body" idx="4"/>
          </p:nvPr>
        </p:nvSpPr>
        <p:spPr>
          <a:xfrm>
            <a:off x="4305600" y="3530242"/>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5803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Index" type="obj" preserve="1">
  <p:cSld name="Index">
    <p:spTree>
      <p:nvGrpSpPr>
        <p:cNvPr id="1" name="Shape 27"/>
        <p:cNvGrpSpPr/>
        <p:nvPr/>
      </p:nvGrpSpPr>
      <p:grpSpPr>
        <a:xfrm>
          <a:off x="0" y="0"/>
          <a:ext cx="0" cy="0"/>
          <a:chOff x="0" y="0"/>
          <a:chExt cx="0" cy="0"/>
        </a:xfrm>
      </p:grpSpPr>
      <p:sp>
        <p:nvSpPr>
          <p:cNvPr id="28" name="Google Shape;28;p75"/>
          <p:cNvSpPr txBox="1">
            <a:spLocks noGrp="1"/>
          </p:cNvSpPr>
          <p:nvPr>
            <p:ph type="title"/>
          </p:nvPr>
        </p:nvSpPr>
        <p:spPr>
          <a:xfrm>
            <a:off x="360000" y="360000"/>
            <a:ext cx="11453940"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800"/>
              <a:buFont typeface="Arial"/>
              <a:buNone/>
              <a:defRPr sz="1800" b="1">
                <a:solidFill>
                  <a:schemeClr val="accent5"/>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75"/>
          <p:cNvSpPr txBox="1">
            <a:spLocks noGrp="1"/>
          </p:cNvSpPr>
          <p:nvPr>
            <p:ph type="body" idx="1"/>
          </p:nvPr>
        </p:nvSpPr>
        <p:spPr>
          <a:xfrm>
            <a:off x="360000" y="4829948"/>
            <a:ext cx="5736000" cy="2028052"/>
          </a:xfrm>
          <a:prstGeom prst="rect">
            <a:avLst/>
          </a:prstGeom>
          <a:solidFill>
            <a:srgbClr val="FFFFFF"/>
          </a:solidFill>
          <a:ln>
            <a:noFill/>
          </a:ln>
        </p:spPr>
        <p:txBody>
          <a:bodyPr spcFirstLastPara="1" wrap="square" lIns="180000" tIns="180000" rIns="180000" bIns="827975" anchor="b" anchorCtr="0">
            <a:spAutoFit/>
          </a:bodyPr>
          <a:lstStyle>
            <a:lvl1pPr marL="457200" lvl="0" indent="-381000" algn="l">
              <a:lnSpc>
                <a:spcPct val="120000"/>
              </a:lnSpc>
              <a:spcBef>
                <a:spcPts val="1200"/>
              </a:spcBef>
              <a:spcAft>
                <a:spcPts val="0"/>
              </a:spcAft>
              <a:buSzPts val="2400"/>
              <a:buFont typeface="Arial"/>
              <a:buAutoNum type="arabicPeriod"/>
              <a:defRPr sz="2400" b="1">
                <a:solidFill>
                  <a:schemeClr val="dk1"/>
                </a:solidFill>
                <a:latin typeface="Arial"/>
                <a:ea typeface="Arial"/>
                <a:cs typeface="Arial"/>
                <a:sym typeface="Arial"/>
              </a:defRPr>
            </a:lvl1pPr>
            <a:lvl2pPr marL="914400" lvl="1" indent="-228600" algn="l">
              <a:lnSpc>
                <a:spcPct val="120000"/>
              </a:lnSpc>
              <a:spcBef>
                <a:spcPts val="1200"/>
              </a:spcBef>
              <a:spcAft>
                <a:spcPts val="0"/>
              </a:spcAft>
              <a:buSzPts val="1800"/>
              <a:buNone/>
              <a:defRPr sz="1800" b="1">
                <a:solidFill>
                  <a:schemeClr val="accent6"/>
                </a:solidFill>
              </a:defRPr>
            </a:lvl2pPr>
            <a:lvl3pPr marL="1371600" lvl="2" indent="-228600" algn="l">
              <a:lnSpc>
                <a:spcPct val="120000"/>
              </a:lnSpc>
              <a:spcBef>
                <a:spcPts val="500"/>
              </a:spcBef>
              <a:spcAft>
                <a:spcPts val="0"/>
              </a:spcAft>
              <a:buSzPts val="2400"/>
              <a:buNone/>
              <a:defRPr sz="2400" b="1">
                <a:solidFill>
                  <a:schemeClr val="accent6"/>
                </a:solidFill>
              </a:defRPr>
            </a:lvl3pPr>
            <a:lvl4pPr marL="1828800" lvl="3" indent="-228600" algn="l">
              <a:lnSpc>
                <a:spcPct val="120000"/>
              </a:lnSpc>
              <a:spcBef>
                <a:spcPts val="500"/>
              </a:spcBef>
              <a:spcAft>
                <a:spcPts val="0"/>
              </a:spcAft>
              <a:buSzPts val="2400"/>
              <a:buNone/>
              <a:defRPr sz="2400" b="1">
                <a:solidFill>
                  <a:schemeClr val="accent6"/>
                </a:solidFill>
              </a:defRPr>
            </a:lvl4pPr>
            <a:lvl5pPr marL="2286000" lvl="4" indent="-228600" algn="l">
              <a:lnSpc>
                <a:spcPct val="120000"/>
              </a:lnSpc>
              <a:spcBef>
                <a:spcPts val="500"/>
              </a:spcBef>
              <a:spcAft>
                <a:spcPts val="0"/>
              </a:spcAft>
              <a:buSzPts val="2400"/>
              <a:buNone/>
              <a:defRPr sz="2400" b="1">
                <a:solidFill>
                  <a:schemeClr val="accent6"/>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18560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tyle 2) 5 Text Boxes " preserve="1">
  <p:cSld name="(Style 2) 5 Text Boxes ">
    <p:spTree>
      <p:nvGrpSpPr>
        <p:cNvPr id="1" name="Shape 259"/>
        <p:cNvGrpSpPr/>
        <p:nvPr/>
      </p:nvGrpSpPr>
      <p:grpSpPr>
        <a:xfrm>
          <a:off x="0" y="0"/>
          <a:ext cx="0" cy="0"/>
          <a:chOff x="0" y="0"/>
          <a:chExt cx="0" cy="0"/>
        </a:xfrm>
      </p:grpSpPr>
      <p:sp>
        <p:nvSpPr>
          <p:cNvPr id="260" name="Google Shape;260;p102"/>
          <p:cNvSpPr txBox="1">
            <a:spLocks noGrp="1"/>
          </p:cNvSpPr>
          <p:nvPr>
            <p:ph type="title"/>
          </p:nvPr>
        </p:nvSpPr>
        <p:spPr>
          <a:xfrm>
            <a:off x="352425" y="358775"/>
            <a:ext cx="3599780" cy="1455507"/>
          </a:xfrm>
          <a:prstGeom prst="rect">
            <a:avLst/>
          </a:prstGeom>
          <a:noFill/>
          <a:ln>
            <a:noFill/>
          </a:ln>
        </p:spPr>
        <p:txBody>
          <a:bodyPr spcFirstLastPara="1" wrap="square" lIns="0" tIns="0" rIns="0" bIns="0" anchor="t" anchorCtr="0">
            <a:norm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 name="Google Shape;261;p102"/>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62" name="Google Shape;262;p102"/>
          <p:cNvSpPr txBox="1">
            <a:spLocks noGrp="1"/>
          </p:cNvSpPr>
          <p:nvPr>
            <p:ph type="body" idx="1"/>
          </p:nvPr>
        </p:nvSpPr>
        <p:spPr>
          <a:xfrm>
            <a:off x="352800" y="1958400"/>
            <a:ext cx="3600450"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63" name="Google Shape;263;p102"/>
          <p:cNvCxnSpPr/>
          <p:nvPr/>
        </p:nvCxnSpPr>
        <p:spPr>
          <a:xfrm>
            <a:off x="4291351" y="358775"/>
            <a:ext cx="3613925" cy="0"/>
          </a:xfrm>
          <a:prstGeom prst="straightConnector1">
            <a:avLst/>
          </a:prstGeom>
          <a:noFill/>
          <a:ln w="9525" cap="flat" cmpd="sng">
            <a:solidFill>
              <a:srgbClr val="C8C8CB"/>
            </a:solidFill>
            <a:prstDash val="solid"/>
            <a:miter lim="400000"/>
            <a:headEnd type="none" w="sm" len="sm"/>
            <a:tailEnd type="none" w="sm" len="sm"/>
          </a:ln>
        </p:spPr>
      </p:cxnSp>
      <p:cxnSp>
        <p:nvCxnSpPr>
          <p:cNvPr id="264" name="Google Shape;264;p102"/>
          <p:cNvCxnSpPr/>
          <p:nvPr/>
        </p:nvCxnSpPr>
        <p:spPr>
          <a:xfrm>
            <a:off x="8205805" y="358775"/>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265" name="Google Shape;265;p102"/>
          <p:cNvSpPr txBox="1">
            <a:spLocks noGrp="1"/>
          </p:cNvSpPr>
          <p:nvPr>
            <p:ph type="body" idx="2"/>
          </p:nvPr>
        </p:nvSpPr>
        <p:spPr>
          <a:xfrm>
            <a:off x="4305600" y="543469"/>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 name="Google Shape;266;p102"/>
          <p:cNvSpPr txBox="1">
            <a:spLocks noGrp="1"/>
          </p:cNvSpPr>
          <p:nvPr>
            <p:ph type="body" idx="3"/>
          </p:nvPr>
        </p:nvSpPr>
        <p:spPr>
          <a:xfrm>
            <a:off x="8218800" y="543469"/>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67" name="Google Shape;267;p102"/>
          <p:cNvCxnSpPr/>
          <p:nvPr/>
        </p:nvCxnSpPr>
        <p:spPr>
          <a:xfrm>
            <a:off x="4291351" y="3346232"/>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268" name="Google Shape;268;p102"/>
          <p:cNvSpPr txBox="1">
            <a:spLocks noGrp="1"/>
          </p:cNvSpPr>
          <p:nvPr>
            <p:ph type="body" idx="4"/>
          </p:nvPr>
        </p:nvSpPr>
        <p:spPr>
          <a:xfrm>
            <a:off x="4305600" y="3530242"/>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69" name="Google Shape;269;p102"/>
          <p:cNvCxnSpPr/>
          <p:nvPr/>
        </p:nvCxnSpPr>
        <p:spPr>
          <a:xfrm>
            <a:off x="8204875" y="3346232"/>
            <a:ext cx="3613925" cy="0"/>
          </a:xfrm>
          <a:prstGeom prst="straightConnector1">
            <a:avLst/>
          </a:prstGeom>
          <a:noFill/>
          <a:ln w="9525" cap="flat" cmpd="sng">
            <a:solidFill>
              <a:srgbClr val="C8C8CB"/>
            </a:solidFill>
            <a:prstDash val="solid"/>
            <a:miter lim="400000"/>
            <a:headEnd type="none" w="sm" len="sm"/>
            <a:tailEnd type="none" w="sm" len="sm"/>
          </a:ln>
        </p:spPr>
      </p:cxnSp>
      <p:sp>
        <p:nvSpPr>
          <p:cNvPr id="270" name="Google Shape;270;p102"/>
          <p:cNvSpPr txBox="1">
            <a:spLocks noGrp="1"/>
          </p:cNvSpPr>
          <p:nvPr>
            <p:ph type="body" idx="5"/>
          </p:nvPr>
        </p:nvSpPr>
        <p:spPr>
          <a:xfrm>
            <a:off x="8218800" y="3530242"/>
            <a:ext cx="3600000" cy="2519146"/>
          </a:xfrm>
          <a:prstGeom prst="rect">
            <a:avLst/>
          </a:prstGeom>
          <a:noFill/>
          <a:ln>
            <a:noFill/>
          </a:ln>
        </p:spPr>
        <p:txBody>
          <a:bodyPr spcFirstLastPara="1" wrap="square" lIns="0" tIns="0" rIns="0" bIns="0" anchor="t" anchorCtr="0">
            <a:noAutofit/>
          </a:bodyPr>
          <a:lstStyle>
            <a:lvl1pPr marL="457200" lvl="0" indent="-311150" algn="l">
              <a:lnSpc>
                <a:spcPct val="120000"/>
              </a:lnSpc>
              <a:spcBef>
                <a:spcPts val="1200"/>
              </a:spcBef>
              <a:spcAft>
                <a:spcPts val="0"/>
              </a:spcAft>
              <a:buSzPts val="1300"/>
              <a:buChar char="•"/>
              <a:defRPr sz="1300" b="1"/>
            </a:lvl1pPr>
            <a:lvl2pPr marL="914400" lvl="1" indent="-292100" algn="l">
              <a:lnSpc>
                <a:spcPct val="120000"/>
              </a:lnSpc>
              <a:spcBef>
                <a:spcPts val="500"/>
              </a:spcBef>
              <a:spcAft>
                <a:spcPts val="0"/>
              </a:spcAft>
              <a:buSzPts val="1000"/>
              <a:buChar char="-"/>
              <a:defRPr sz="1000"/>
            </a:lvl2pPr>
            <a:lvl3pPr marL="1371600" lvl="2" indent="-292100" algn="l">
              <a:lnSpc>
                <a:spcPct val="120000"/>
              </a:lnSpc>
              <a:spcBef>
                <a:spcPts val="500"/>
              </a:spcBef>
              <a:spcAft>
                <a:spcPts val="0"/>
              </a:spcAft>
              <a:buSzPts val="1000"/>
              <a:buChar char="•"/>
              <a:defRPr sz="1000"/>
            </a:lvl3pPr>
            <a:lvl4pPr marL="1828800" lvl="3" indent="-292100" algn="l">
              <a:lnSpc>
                <a:spcPct val="120000"/>
              </a:lnSpc>
              <a:spcBef>
                <a:spcPts val="500"/>
              </a:spcBef>
              <a:spcAft>
                <a:spcPts val="0"/>
              </a:spcAft>
              <a:buSzPts val="1000"/>
              <a:buChar char="•"/>
              <a:defRPr sz="1000"/>
            </a:lvl4pPr>
            <a:lvl5pPr marL="2286000" lvl="4" indent="-292100" algn="l">
              <a:lnSpc>
                <a:spcPct val="120000"/>
              </a:lnSpc>
              <a:spcBef>
                <a:spcPts val="500"/>
              </a:spcBef>
              <a:spcAft>
                <a:spcPts val="0"/>
              </a:spcAft>
              <a:buSzPts val="1000"/>
              <a:buChar char="•"/>
              <a:defRPr sz="10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3696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tyle 2) Text Box &amp; Blank" preserve="1">
  <p:cSld name="(Style 2) Text Box &amp; Blank">
    <p:spTree>
      <p:nvGrpSpPr>
        <p:cNvPr id="1" name="Shape 271"/>
        <p:cNvGrpSpPr/>
        <p:nvPr/>
      </p:nvGrpSpPr>
      <p:grpSpPr>
        <a:xfrm>
          <a:off x="0" y="0"/>
          <a:ext cx="0" cy="0"/>
          <a:chOff x="0" y="0"/>
          <a:chExt cx="0" cy="0"/>
        </a:xfrm>
      </p:grpSpPr>
      <p:sp>
        <p:nvSpPr>
          <p:cNvPr id="272" name="Google Shape;272;p103"/>
          <p:cNvSpPr txBox="1">
            <a:spLocks noGrp="1"/>
          </p:cNvSpPr>
          <p:nvPr>
            <p:ph type="title"/>
          </p:nvPr>
        </p:nvSpPr>
        <p:spPr>
          <a:xfrm>
            <a:off x="352425" y="358775"/>
            <a:ext cx="3602736" cy="1455507"/>
          </a:xfrm>
          <a:prstGeom prst="rect">
            <a:avLst/>
          </a:prstGeom>
          <a:noFill/>
          <a:ln>
            <a:noFill/>
          </a:ln>
        </p:spPr>
        <p:txBody>
          <a:bodyPr spcFirstLastPara="1" wrap="square" lIns="0" tIns="0" rIns="0" bIns="0" anchor="t" anchorCtr="0">
            <a:norm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 name="Google Shape;273;p103"/>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274" name="Google Shape;274;p103"/>
          <p:cNvSpPr txBox="1">
            <a:spLocks noGrp="1"/>
          </p:cNvSpPr>
          <p:nvPr>
            <p:ph type="body" idx="1"/>
          </p:nvPr>
        </p:nvSpPr>
        <p:spPr>
          <a:xfrm>
            <a:off x="355819" y="1958400"/>
            <a:ext cx="3600450"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907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5172">
          <p15:clr>
            <a:srgbClr val="FBAE40"/>
          </p15:clr>
        </p15:guide>
        <p15:guide id="3" orient="horz" pos="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tyle 2) Text &amp; Image" preserve="1">
  <p:cSld name="(Style 2) Text &amp; Image">
    <p:spTree>
      <p:nvGrpSpPr>
        <p:cNvPr id="1" name="Shape 275"/>
        <p:cNvGrpSpPr/>
        <p:nvPr/>
      </p:nvGrpSpPr>
      <p:grpSpPr>
        <a:xfrm>
          <a:off x="0" y="0"/>
          <a:ext cx="0" cy="0"/>
          <a:chOff x="0" y="0"/>
          <a:chExt cx="0" cy="0"/>
        </a:xfrm>
      </p:grpSpPr>
      <p:sp>
        <p:nvSpPr>
          <p:cNvPr id="276" name="Google Shape;276;p104"/>
          <p:cNvSpPr>
            <a:spLocks noGrp="1"/>
          </p:cNvSpPr>
          <p:nvPr>
            <p:ph type="pic" idx="2"/>
          </p:nvPr>
        </p:nvSpPr>
        <p:spPr>
          <a:xfrm>
            <a:off x="3706368" y="-1"/>
            <a:ext cx="8485632" cy="6858001"/>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77" name="Google Shape;277;p104"/>
          <p:cNvSpPr txBox="1">
            <a:spLocks noGrp="1"/>
          </p:cNvSpPr>
          <p:nvPr>
            <p:ph type="title"/>
          </p:nvPr>
        </p:nvSpPr>
        <p:spPr>
          <a:xfrm>
            <a:off x="352425" y="358775"/>
            <a:ext cx="3068107" cy="1455507"/>
          </a:xfrm>
          <a:prstGeom prst="rect">
            <a:avLst/>
          </a:prstGeom>
          <a:noFill/>
          <a:ln>
            <a:noFill/>
          </a:ln>
        </p:spPr>
        <p:txBody>
          <a:bodyPr spcFirstLastPara="1" wrap="square" lIns="0" tIns="0" rIns="0" bIns="0" anchor="t" anchorCtr="0">
            <a:no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8" name="Google Shape;278;p104"/>
          <p:cNvSpPr txBox="1">
            <a:spLocks noGrp="1"/>
          </p:cNvSpPr>
          <p:nvPr>
            <p:ph type="body" idx="1"/>
          </p:nvPr>
        </p:nvSpPr>
        <p:spPr>
          <a:xfrm>
            <a:off x="355819" y="1958400"/>
            <a:ext cx="3064713"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1246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36">
          <p15:clr>
            <a:srgbClr val="FBAE40"/>
          </p15:clr>
        </p15:guide>
        <p15:guide id="2" pos="5172">
          <p15:clr>
            <a:srgbClr val="FBAE40"/>
          </p15:clr>
        </p15:guide>
        <p15:guide id="3" orient="horz" pos="456">
          <p15:clr>
            <a:srgbClr val="FBAE4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tyle 2) Text &amp; 2 Images" preserve="1">
  <p:cSld name="(Style 2) Text &amp; 2 Images">
    <p:spTree>
      <p:nvGrpSpPr>
        <p:cNvPr id="1" name="Shape 279"/>
        <p:cNvGrpSpPr/>
        <p:nvPr/>
      </p:nvGrpSpPr>
      <p:grpSpPr>
        <a:xfrm>
          <a:off x="0" y="0"/>
          <a:ext cx="0" cy="0"/>
          <a:chOff x="0" y="0"/>
          <a:chExt cx="0" cy="0"/>
        </a:xfrm>
      </p:grpSpPr>
      <p:sp>
        <p:nvSpPr>
          <p:cNvPr id="280" name="Google Shape;280;p105"/>
          <p:cNvSpPr>
            <a:spLocks noGrp="1"/>
          </p:cNvSpPr>
          <p:nvPr>
            <p:ph type="pic" idx="2"/>
          </p:nvPr>
        </p:nvSpPr>
        <p:spPr>
          <a:xfrm>
            <a:off x="3708398" y="-1"/>
            <a:ext cx="8483601" cy="3429001"/>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81" name="Google Shape;281;p105"/>
          <p:cNvSpPr>
            <a:spLocks noGrp="1"/>
          </p:cNvSpPr>
          <p:nvPr>
            <p:ph type="pic" idx="3"/>
          </p:nvPr>
        </p:nvSpPr>
        <p:spPr>
          <a:xfrm>
            <a:off x="3708398" y="3436218"/>
            <a:ext cx="8483601" cy="3429001"/>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82" name="Google Shape;282;p105"/>
          <p:cNvSpPr txBox="1">
            <a:spLocks noGrp="1"/>
          </p:cNvSpPr>
          <p:nvPr>
            <p:ph type="title"/>
          </p:nvPr>
        </p:nvSpPr>
        <p:spPr>
          <a:xfrm>
            <a:off x="352425" y="358775"/>
            <a:ext cx="3068107" cy="1455507"/>
          </a:xfrm>
          <a:prstGeom prst="rect">
            <a:avLst/>
          </a:prstGeom>
          <a:noFill/>
          <a:ln>
            <a:noFill/>
          </a:ln>
        </p:spPr>
        <p:txBody>
          <a:bodyPr spcFirstLastPara="1" wrap="square" lIns="0" tIns="0" rIns="0" bIns="0" anchor="t" anchorCtr="0">
            <a:no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 name="Google Shape;283;p105"/>
          <p:cNvSpPr txBox="1">
            <a:spLocks noGrp="1"/>
          </p:cNvSpPr>
          <p:nvPr>
            <p:ph type="body" idx="1"/>
          </p:nvPr>
        </p:nvSpPr>
        <p:spPr>
          <a:xfrm>
            <a:off x="355819" y="1958400"/>
            <a:ext cx="3064713"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3629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36">
          <p15:clr>
            <a:srgbClr val="FBAE40"/>
          </p15:clr>
        </p15:guide>
        <p15:guide id="2" pos="5172">
          <p15:clr>
            <a:srgbClr val="FBAE40"/>
          </p15:clr>
        </p15:guide>
        <p15:guide id="3" orient="horz" pos="456">
          <p15:clr>
            <a:srgbClr val="FBAE4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tyle 2) Text &amp; 3 Images" preserve="1">
  <p:cSld name="(Style 2) Text &amp; 3 Images">
    <p:spTree>
      <p:nvGrpSpPr>
        <p:cNvPr id="1" name="Shape 284"/>
        <p:cNvGrpSpPr/>
        <p:nvPr/>
      </p:nvGrpSpPr>
      <p:grpSpPr>
        <a:xfrm>
          <a:off x="0" y="0"/>
          <a:ext cx="0" cy="0"/>
          <a:chOff x="0" y="0"/>
          <a:chExt cx="0" cy="0"/>
        </a:xfrm>
      </p:grpSpPr>
      <p:sp>
        <p:nvSpPr>
          <p:cNvPr id="285" name="Google Shape;285;p106"/>
          <p:cNvSpPr txBox="1">
            <a:spLocks noGrp="1"/>
          </p:cNvSpPr>
          <p:nvPr>
            <p:ph type="title"/>
          </p:nvPr>
        </p:nvSpPr>
        <p:spPr>
          <a:xfrm>
            <a:off x="352425" y="358775"/>
            <a:ext cx="3068107" cy="1455507"/>
          </a:xfrm>
          <a:prstGeom prst="rect">
            <a:avLst/>
          </a:prstGeom>
          <a:noFill/>
          <a:ln>
            <a:noFill/>
          </a:ln>
        </p:spPr>
        <p:txBody>
          <a:bodyPr spcFirstLastPara="1" wrap="square" lIns="0" tIns="0" rIns="0" bIns="0" anchor="t" anchorCtr="0">
            <a:no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6" name="Google Shape;286;p106"/>
          <p:cNvSpPr>
            <a:spLocks noGrp="1"/>
          </p:cNvSpPr>
          <p:nvPr>
            <p:ph type="pic" idx="2"/>
          </p:nvPr>
        </p:nvSpPr>
        <p:spPr>
          <a:xfrm>
            <a:off x="7957085" y="-1"/>
            <a:ext cx="4242816" cy="6858001"/>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87" name="Google Shape;287;p106"/>
          <p:cNvSpPr>
            <a:spLocks noGrp="1"/>
          </p:cNvSpPr>
          <p:nvPr>
            <p:ph type="pic" idx="3"/>
          </p:nvPr>
        </p:nvSpPr>
        <p:spPr>
          <a:xfrm>
            <a:off x="3708399" y="-1"/>
            <a:ext cx="4253449" cy="3429825"/>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88" name="Google Shape;288;p106"/>
          <p:cNvSpPr>
            <a:spLocks noGrp="1"/>
          </p:cNvSpPr>
          <p:nvPr>
            <p:ph type="pic" idx="4"/>
          </p:nvPr>
        </p:nvSpPr>
        <p:spPr>
          <a:xfrm>
            <a:off x="3708400" y="3431540"/>
            <a:ext cx="4255200" cy="3429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89" name="Google Shape;289;p106"/>
          <p:cNvSpPr txBox="1">
            <a:spLocks noGrp="1"/>
          </p:cNvSpPr>
          <p:nvPr>
            <p:ph type="body" idx="1"/>
          </p:nvPr>
        </p:nvSpPr>
        <p:spPr>
          <a:xfrm>
            <a:off x="355819" y="1958400"/>
            <a:ext cx="3064713"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140926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36">
          <p15:clr>
            <a:srgbClr val="FBAE40"/>
          </p15:clr>
        </p15:guide>
        <p15:guide id="2" pos="5172">
          <p15:clr>
            <a:srgbClr val="FBAE40"/>
          </p15:clr>
        </p15:guide>
        <p15:guide id="3" orient="horz" pos="45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tyle 2) Text &amp; 4 Images" preserve="1">
  <p:cSld name="(Style 2) Text &amp; 4 Images">
    <p:spTree>
      <p:nvGrpSpPr>
        <p:cNvPr id="1" name="Shape 290"/>
        <p:cNvGrpSpPr/>
        <p:nvPr/>
      </p:nvGrpSpPr>
      <p:grpSpPr>
        <a:xfrm>
          <a:off x="0" y="0"/>
          <a:ext cx="0" cy="0"/>
          <a:chOff x="0" y="0"/>
          <a:chExt cx="0" cy="0"/>
        </a:xfrm>
      </p:grpSpPr>
      <p:sp>
        <p:nvSpPr>
          <p:cNvPr id="291" name="Google Shape;291;p107"/>
          <p:cNvSpPr>
            <a:spLocks noGrp="1"/>
          </p:cNvSpPr>
          <p:nvPr>
            <p:ph type="pic" idx="2"/>
          </p:nvPr>
        </p:nvSpPr>
        <p:spPr>
          <a:xfrm>
            <a:off x="3708399" y="-1"/>
            <a:ext cx="4253449" cy="3429825"/>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2" name="Google Shape;292;p107"/>
          <p:cNvSpPr>
            <a:spLocks noGrp="1"/>
          </p:cNvSpPr>
          <p:nvPr>
            <p:ph type="pic" idx="3"/>
          </p:nvPr>
        </p:nvSpPr>
        <p:spPr>
          <a:xfrm>
            <a:off x="7961847" y="-1"/>
            <a:ext cx="4242816" cy="3429825"/>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3" name="Google Shape;293;p107"/>
          <p:cNvSpPr>
            <a:spLocks noGrp="1"/>
          </p:cNvSpPr>
          <p:nvPr>
            <p:ph type="pic" idx="4"/>
          </p:nvPr>
        </p:nvSpPr>
        <p:spPr>
          <a:xfrm>
            <a:off x="7961848" y="3431540"/>
            <a:ext cx="4240786" cy="3429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4" name="Google Shape;294;p107"/>
          <p:cNvSpPr>
            <a:spLocks noGrp="1"/>
          </p:cNvSpPr>
          <p:nvPr>
            <p:ph type="pic" idx="5"/>
          </p:nvPr>
        </p:nvSpPr>
        <p:spPr>
          <a:xfrm>
            <a:off x="3708400" y="3431540"/>
            <a:ext cx="4251960" cy="3429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5" name="Google Shape;295;p107"/>
          <p:cNvSpPr txBox="1">
            <a:spLocks noGrp="1"/>
          </p:cNvSpPr>
          <p:nvPr>
            <p:ph type="title"/>
          </p:nvPr>
        </p:nvSpPr>
        <p:spPr>
          <a:xfrm>
            <a:off x="352425" y="358775"/>
            <a:ext cx="3068107" cy="1455507"/>
          </a:xfrm>
          <a:prstGeom prst="rect">
            <a:avLst/>
          </a:prstGeom>
          <a:noFill/>
          <a:ln>
            <a:noFill/>
          </a:ln>
        </p:spPr>
        <p:txBody>
          <a:bodyPr spcFirstLastPara="1" wrap="square" lIns="0" tIns="0" rIns="0" bIns="0" anchor="t" anchorCtr="0">
            <a:noAutofit/>
          </a:bodyPr>
          <a:lstStyle>
            <a:lvl1pPr lvl="0" algn="l">
              <a:lnSpc>
                <a:spcPct val="120000"/>
              </a:lnSpc>
              <a:spcBef>
                <a:spcPts val="1200"/>
              </a:spcBef>
              <a:spcAft>
                <a:spcPts val="0"/>
              </a:spcAft>
              <a:buClr>
                <a:schemeClr val="accent1"/>
              </a:buClr>
              <a:buSzPts val="3000"/>
              <a:buFont typeface="Arial"/>
              <a:buNone/>
              <a:defRPr sz="3000" b="1">
                <a:solidFill>
                  <a:schemeClr val="accen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 name="Google Shape;296;p107"/>
          <p:cNvSpPr txBox="1">
            <a:spLocks noGrp="1"/>
          </p:cNvSpPr>
          <p:nvPr>
            <p:ph type="body" idx="1"/>
          </p:nvPr>
        </p:nvSpPr>
        <p:spPr>
          <a:xfrm>
            <a:off x="355819" y="1958400"/>
            <a:ext cx="3064713" cy="4090988"/>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Clr>
                <a:schemeClr val="accent1"/>
              </a:buClr>
              <a:buSzPts val="1600"/>
              <a:buFont typeface="NTR"/>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915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328">
          <p15:clr>
            <a:srgbClr val="FBAE40"/>
          </p15:clr>
        </p15:guide>
        <p15:guide id="2" pos="5172">
          <p15:clr>
            <a:srgbClr val="FBAE40"/>
          </p15:clr>
        </p15:guide>
        <p15:guide id="3" orient="horz" pos="45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tyle 1) Picture with Giant Caption" preserve="1">
  <p:cSld name="(Style 1) Picture with Giant Caption">
    <p:spTree>
      <p:nvGrpSpPr>
        <p:cNvPr id="1" name="Shape 297"/>
        <p:cNvGrpSpPr/>
        <p:nvPr/>
      </p:nvGrpSpPr>
      <p:grpSpPr>
        <a:xfrm>
          <a:off x="0" y="0"/>
          <a:ext cx="0" cy="0"/>
          <a:chOff x="0" y="0"/>
          <a:chExt cx="0" cy="0"/>
        </a:xfrm>
      </p:grpSpPr>
      <p:sp>
        <p:nvSpPr>
          <p:cNvPr id="298" name="Google Shape;298;p108"/>
          <p:cNvSpPr>
            <a:spLocks noGrp="1"/>
          </p:cNvSpPr>
          <p:nvPr>
            <p:ph type="pic" idx="2"/>
          </p:nvPr>
        </p:nvSpPr>
        <p:spPr>
          <a:xfrm>
            <a:off x="0" y="0"/>
            <a:ext cx="12192000" cy="6858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99" name="Google Shape;299;p108"/>
          <p:cNvSpPr txBox="1">
            <a:spLocks noGrp="1"/>
          </p:cNvSpPr>
          <p:nvPr>
            <p:ph type="title"/>
          </p:nvPr>
        </p:nvSpPr>
        <p:spPr>
          <a:xfrm>
            <a:off x="359999" y="720725"/>
            <a:ext cx="11453941" cy="5337175"/>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chemeClr val="dk1"/>
              </a:buClr>
              <a:buSzPts val="9600"/>
              <a:buFont typeface="Arial"/>
              <a:buNone/>
              <a:defRPr sz="96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81498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Style 1) Picture with Caption" preserve="1">
  <p:cSld name="(Style 1) Picture with Caption">
    <p:spTree>
      <p:nvGrpSpPr>
        <p:cNvPr id="1" name="Shape 300"/>
        <p:cNvGrpSpPr/>
        <p:nvPr/>
      </p:nvGrpSpPr>
      <p:grpSpPr>
        <a:xfrm>
          <a:off x="0" y="0"/>
          <a:ext cx="0" cy="0"/>
          <a:chOff x="0" y="0"/>
          <a:chExt cx="0" cy="0"/>
        </a:xfrm>
      </p:grpSpPr>
      <p:sp>
        <p:nvSpPr>
          <p:cNvPr id="301" name="Google Shape;301;p109"/>
          <p:cNvSpPr>
            <a:spLocks noGrp="1"/>
          </p:cNvSpPr>
          <p:nvPr>
            <p:ph type="pic" idx="2"/>
          </p:nvPr>
        </p:nvSpPr>
        <p:spPr>
          <a:xfrm>
            <a:off x="0" y="0"/>
            <a:ext cx="12192000" cy="6048000"/>
          </a:xfrm>
          <a:prstGeom prst="rect">
            <a:avLst/>
          </a:prstGeom>
          <a:noFill/>
          <a:ln>
            <a:noFill/>
          </a:ln>
        </p:spPr>
        <p:txBody>
          <a:bodyPr spcFirstLastPara="1" wrap="square" lIns="0" tIns="0" rIns="0" bIns="0" anchor="t" anchorCtr="0">
            <a:noAutofit/>
          </a:bodyPr>
          <a:lstStyle>
            <a:lvl1pPr marR="0" lvl="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R="0" lvl="2"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02" name="Google Shape;302;p109"/>
          <p:cNvSpPr txBox="1">
            <a:spLocks noGrp="1"/>
          </p:cNvSpPr>
          <p:nvPr>
            <p:ph type="body" idx="1"/>
          </p:nvPr>
        </p:nvSpPr>
        <p:spPr>
          <a:xfrm>
            <a:off x="2465400" y="6138000"/>
            <a:ext cx="7261200" cy="536069"/>
          </a:xfrm>
          <a:prstGeom prst="rect">
            <a:avLst/>
          </a:prstGeom>
          <a:noFill/>
          <a:ln>
            <a:noFill/>
          </a:ln>
        </p:spPr>
        <p:txBody>
          <a:bodyPr spcFirstLastPara="1" wrap="square" lIns="0" tIns="0" rIns="0" bIns="0" anchor="ctr" anchorCtr="0">
            <a:noAutofit/>
          </a:bodyPr>
          <a:lstStyle>
            <a:lvl1pPr marL="457200" lvl="0" indent="-228600" algn="ctr">
              <a:lnSpc>
                <a:spcPct val="120000"/>
              </a:lnSpc>
              <a:spcBef>
                <a:spcPts val="1200"/>
              </a:spcBef>
              <a:spcAft>
                <a:spcPts val="0"/>
              </a:spcAft>
              <a:buSzPts val="1400"/>
              <a:buNone/>
              <a:defRPr sz="1400"/>
            </a:lvl1pPr>
            <a:lvl2pPr marL="914400" lvl="1" indent="-228600" algn="ctr">
              <a:lnSpc>
                <a:spcPct val="120000"/>
              </a:lnSpc>
              <a:spcBef>
                <a:spcPts val="1200"/>
              </a:spcBef>
              <a:spcAft>
                <a:spcPts val="0"/>
              </a:spcAft>
              <a:buSzPts val="1400"/>
              <a:buNone/>
              <a:defRPr sz="1400"/>
            </a:lvl2pPr>
            <a:lvl3pPr marL="1371600" lvl="2" indent="-228600" algn="ctr">
              <a:lnSpc>
                <a:spcPct val="120000"/>
              </a:lnSpc>
              <a:spcBef>
                <a:spcPts val="500"/>
              </a:spcBef>
              <a:spcAft>
                <a:spcPts val="0"/>
              </a:spcAft>
              <a:buSzPts val="1400"/>
              <a:buNone/>
              <a:defRPr sz="1400"/>
            </a:lvl3pPr>
            <a:lvl4pPr marL="1828800" lvl="3" indent="-228600" algn="ctr">
              <a:lnSpc>
                <a:spcPct val="120000"/>
              </a:lnSpc>
              <a:spcBef>
                <a:spcPts val="500"/>
              </a:spcBef>
              <a:spcAft>
                <a:spcPts val="0"/>
              </a:spcAft>
              <a:buSzPts val="1400"/>
              <a:buNone/>
              <a:defRPr sz="1400"/>
            </a:lvl4pPr>
            <a:lvl5pPr marL="2286000" lvl="4" indent="-228600" algn="ctr">
              <a:lnSpc>
                <a:spcPct val="120000"/>
              </a:lnSpc>
              <a:spcBef>
                <a:spcPts val="500"/>
              </a:spcBef>
              <a:spcAft>
                <a:spcPts val="0"/>
              </a:spcAft>
              <a:buSzPts val="1400"/>
              <a:buNone/>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9850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Blank" preserve="1">
  <p:cSld name="Blank">
    <p:spTree>
      <p:nvGrpSpPr>
        <p:cNvPr id="1" name="Shape 303"/>
        <p:cNvGrpSpPr/>
        <p:nvPr/>
      </p:nvGrpSpPr>
      <p:grpSpPr>
        <a:xfrm>
          <a:off x="0" y="0"/>
          <a:ext cx="0" cy="0"/>
          <a:chOff x="0" y="0"/>
          <a:chExt cx="0" cy="0"/>
        </a:xfrm>
      </p:grpSpPr>
    </p:spTree>
    <p:extLst>
      <p:ext uri="{BB962C8B-B14F-4D97-AF65-F5344CB8AC3E}">
        <p14:creationId xmlns:p14="http://schemas.microsoft.com/office/powerpoint/2010/main" val="176073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3FCA7D-CFAD-4BA4-AB8E-3B5F088104B5}"/>
              </a:ext>
            </a:extLst>
          </p:cNvPr>
          <p:cNvSpPr>
            <a:spLocks noGrp="1"/>
          </p:cNvSpPr>
          <p:nvPr>
            <p:ph type="dt" sz="half" idx="10"/>
          </p:nvPr>
        </p:nvSpPr>
        <p:spPr/>
        <p:txBody>
          <a:bodyPr/>
          <a:lstStyle/>
          <a:p>
            <a:fld id="{692FE816-580D-4471-BFD1-CA27EA715A70}" type="datetimeFigureOut">
              <a:rPr lang="en-US" smtClean="0"/>
              <a:t>9/12/22</a:t>
            </a:fld>
            <a:endParaRPr lang="en-US"/>
          </a:p>
        </p:txBody>
      </p:sp>
      <p:sp>
        <p:nvSpPr>
          <p:cNvPr id="3" name="Footer Placeholder 2">
            <a:extLst>
              <a:ext uri="{FF2B5EF4-FFF2-40B4-BE49-F238E27FC236}">
                <a16:creationId xmlns:a16="http://schemas.microsoft.com/office/drawing/2014/main" id="{62405964-DBAC-409A-82B4-DE8FB0BF8EF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376FDA-94B1-499B-BB9E-2B5BC90AC4AC}"/>
              </a:ext>
            </a:extLst>
          </p:cNvPr>
          <p:cNvSpPr>
            <a:spLocks noGrp="1"/>
          </p:cNvSpPr>
          <p:nvPr>
            <p:ph type="sldNum" sz="quarter" idx="12"/>
          </p:nvPr>
        </p:nvSpPr>
        <p:spPr/>
        <p:txBody>
          <a:bodyPr/>
          <a:lstStyle/>
          <a:p>
            <a:fld id="{95A128E1-3F6C-4323-84D3-E8AF53FF3029}" type="slidenum">
              <a:rPr lang="en-US" smtClean="0"/>
              <a:t>‹#›</a:t>
            </a:fld>
            <a:endParaRPr lang="en-US"/>
          </a:p>
        </p:txBody>
      </p:sp>
    </p:spTree>
    <p:extLst>
      <p:ext uri="{BB962C8B-B14F-4D97-AF65-F5344CB8AC3E}">
        <p14:creationId xmlns:p14="http://schemas.microsoft.com/office/powerpoint/2010/main" val="1191708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tyle 1) Text Box" preserve="1">
  <p:cSld name="(Style 1) Text Box">
    <p:spTree>
      <p:nvGrpSpPr>
        <p:cNvPr id="1" name="Shape 30"/>
        <p:cNvGrpSpPr/>
        <p:nvPr/>
      </p:nvGrpSpPr>
      <p:grpSpPr>
        <a:xfrm>
          <a:off x="0" y="0"/>
          <a:ext cx="0" cy="0"/>
          <a:chOff x="0" y="0"/>
          <a:chExt cx="0" cy="0"/>
        </a:xfrm>
      </p:grpSpPr>
      <p:sp>
        <p:nvSpPr>
          <p:cNvPr id="31" name="Google Shape;31;p76"/>
          <p:cNvSpPr txBox="1">
            <a:spLocks noGrp="1"/>
          </p:cNvSpPr>
          <p:nvPr>
            <p:ph type="title"/>
          </p:nvPr>
        </p:nvSpPr>
        <p:spPr>
          <a:xfrm>
            <a:off x="360000" y="360000"/>
            <a:ext cx="11453940"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 name="Google Shape;32;p76"/>
          <p:cNvSpPr txBox="1">
            <a:spLocks noGrp="1"/>
          </p:cNvSpPr>
          <p:nvPr>
            <p:ph type="body" idx="1"/>
          </p:nvPr>
        </p:nvSpPr>
        <p:spPr>
          <a:xfrm>
            <a:off x="360000" y="1079998"/>
            <a:ext cx="11453941" cy="4977901"/>
          </a:xfrm>
          <a:prstGeom prst="rect">
            <a:avLst/>
          </a:prstGeom>
          <a:noFill/>
          <a:ln>
            <a:noFill/>
          </a:ln>
        </p:spPr>
        <p:txBody>
          <a:bodyPr spcFirstLastPara="1" wrap="square" lIns="0" tIns="0" rIns="0" bIns="0" anchor="t" anchorCtr="0">
            <a:noAutofit/>
          </a:bodyPr>
          <a:lstStyle>
            <a:lvl1pPr marL="457200" lvl="0" indent="-342900" algn="l">
              <a:lnSpc>
                <a:spcPct val="120000"/>
              </a:lnSpc>
              <a:spcBef>
                <a:spcPts val="1200"/>
              </a:spcBef>
              <a:spcAft>
                <a:spcPts val="0"/>
              </a:spcAft>
              <a:buSzPts val="18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76"/>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0488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with Photo Left">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340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with Photo R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672540-1147-614D-8DA9-896A245EB37C}"/>
              </a:ext>
            </a:extLst>
          </p:cNvPr>
          <p:cNvSpPr/>
          <p:nvPr userDrawn="1"/>
        </p:nvSpPr>
        <p:spPr>
          <a:xfrm>
            <a:off x="6084888" y="1836000"/>
            <a:ext cx="6107112" cy="3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6096000" y="1836000"/>
            <a:ext cx="6096000" cy="3117600"/>
          </a:xfrm>
          <a:noFill/>
        </p:spPr>
        <p:txBody>
          <a:bodyPr lIns="1296000" tIns="1440000" rIns="720000" bIns="360000"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1" i="0" spc="-150">
                <a:solidFill>
                  <a:schemeClr val="tx1"/>
                </a:solidFill>
                <a:latin typeface="Arial Black" panose="020B0604020202020204" pitchFamily="34" charset="0"/>
                <a:cs typeface="Arial Black" panose="020B0604020202020204" pitchFamily="34" charset="0"/>
              </a:defRPr>
            </a:lvl1pPr>
          </a:lstStyle>
          <a:p>
            <a:r>
              <a:rPr lang="en-US" dirty="0"/>
              <a:t>Deck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6084888" y="4950000"/>
            <a:ext cx="6107112" cy="813600"/>
          </a:xfrm>
          <a:prstGeom prst="rect">
            <a:avLst/>
          </a:prstGeom>
          <a:solidFill>
            <a:schemeClr val="tx2">
              <a:lumMod val="20000"/>
              <a:lumOff val="80000"/>
            </a:schemeClr>
          </a:solidFill>
        </p:spPr>
        <p:txBody>
          <a:bodyPr lIns="1296000" tIns="180000" rIns="720000" bIns="180000" anchor="ctr"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aphic 6">
            <a:extLst>
              <a:ext uri="{FF2B5EF4-FFF2-40B4-BE49-F238E27FC236}">
                <a16:creationId xmlns:a16="http://schemas.microsoft.com/office/drawing/2014/main" id="{35FC0794-381B-6642-ACBD-511DE199CD77}"/>
              </a:ext>
            </a:extLst>
          </p:cNvPr>
          <p:cNvGrpSpPr/>
          <p:nvPr userDrawn="1"/>
        </p:nvGrpSpPr>
        <p:grpSpPr>
          <a:xfrm>
            <a:off x="6844888" y="2361601"/>
            <a:ext cx="1949437" cy="439199"/>
            <a:chOff x="3721526" y="2201333"/>
            <a:chExt cx="1949437" cy="439199"/>
          </a:xfrm>
        </p:grpSpPr>
        <p:sp>
          <p:nvSpPr>
            <p:cNvPr id="7" name="Graphic 6">
              <a:extLst>
                <a:ext uri="{FF2B5EF4-FFF2-40B4-BE49-F238E27FC236}">
                  <a16:creationId xmlns:a16="http://schemas.microsoft.com/office/drawing/2014/main" id="{35998E0A-9BE5-6D49-94C6-4F5A5AA8E5A8}"/>
                </a:ext>
              </a:extLst>
            </p:cNvPr>
            <p:cNvSpPr/>
            <p:nvPr/>
          </p:nvSpPr>
          <p:spPr>
            <a:xfrm>
              <a:off x="4295120" y="2307209"/>
              <a:ext cx="1375843" cy="232533"/>
            </a:xfrm>
            <a:custGeom>
              <a:avLst/>
              <a:gdLst>
                <a:gd name="connsiteX0" fmla="*/ 516051 w 1375843"/>
                <a:gd name="connsiteY0" fmla="*/ 68048 h 232533"/>
                <a:gd name="connsiteX1" fmla="*/ 578107 w 1375843"/>
                <a:gd name="connsiteY1" fmla="*/ 104431 h 232533"/>
                <a:gd name="connsiteX2" fmla="*/ 540432 w 1375843"/>
                <a:gd name="connsiteY2" fmla="*/ 124363 h 232533"/>
                <a:gd name="connsiteX3" fmla="*/ 515734 w 1375843"/>
                <a:gd name="connsiteY3" fmla="*/ 105062 h 232533"/>
                <a:gd name="connsiteX4" fmla="*/ 501172 w 1375843"/>
                <a:gd name="connsiteY4" fmla="*/ 115818 h 232533"/>
                <a:gd name="connsiteX5" fmla="*/ 514153 w 1375843"/>
                <a:gd name="connsiteY5" fmla="*/ 127840 h 232533"/>
                <a:gd name="connsiteX6" fmla="*/ 533783 w 1375843"/>
                <a:gd name="connsiteY6" fmla="*/ 132904 h 232533"/>
                <a:gd name="connsiteX7" fmla="*/ 579056 w 1375843"/>
                <a:gd name="connsiteY7" fmla="*/ 179095 h 232533"/>
                <a:gd name="connsiteX8" fmla="*/ 516051 w 1375843"/>
                <a:gd name="connsiteY8" fmla="*/ 232561 h 232533"/>
                <a:gd name="connsiteX9" fmla="*/ 449877 w 1375843"/>
                <a:gd name="connsiteY9" fmla="*/ 194280 h 232533"/>
                <a:gd name="connsiteX10" fmla="*/ 487238 w 1375843"/>
                <a:gd name="connsiteY10" fmla="*/ 173713 h 232533"/>
                <a:gd name="connsiteX11" fmla="*/ 516369 w 1375843"/>
                <a:gd name="connsiteY11" fmla="*/ 194912 h 232533"/>
                <a:gd name="connsiteX12" fmla="*/ 532833 w 1375843"/>
                <a:gd name="connsiteY12" fmla="*/ 182890 h 232533"/>
                <a:gd name="connsiteX13" fmla="*/ 518585 w 1375843"/>
                <a:gd name="connsiteY13" fmla="*/ 171185 h 232533"/>
                <a:gd name="connsiteX14" fmla="*/ 500222 w 1375843"/>
                <a:gd name="connsiteY14" fmla="*/ 166756 h 232533"/>
                <a:gd name="connsiteX15" fmla="*/ 455577 w 1375843"/>
                <a:gd name="connsiteY15" fmla="*/ 118668 h 232533"/>
                <a:gd name="connsiteX16" fmla="*/ 516051 w 1375843"/>
                <a:gd name="connsiteY16" fmla="*/ 68048 h 232533"/>
                <a:gd name="connsiteX17" fmla="*/ 731570 w 1375843"/>
                <a:gd name="connsiteY17" fmla="*/ 68048 h 232533"/>
                <a:gd name="connsiteX18" fmla="*/ 793630 w 1375843"/>
                <a:gd name="connsiteY18" fmla="*/ 104431 h 232533"/>
                <a:gd name="connsiteX19" fmla="*/ 755951 w 1375843"/>
                <a:gd name="connsiteY19" fmla="*/ 124363 h 232533"/>
                <a:gd name="connsiteX20" fmla="*/ 731253 w 1375843"/>
                <a:gd name="connsiteY20" fmla="*/ 105062 h 232533"/>
                <a:gd name="connsiteX21" fmla="*/ 716691 w 1375843"/>
                <a:gd name="connsiteY21" fmla="*/ 115818 h 232533"/>
                <a:gd name="connsiteX22" fmla="*/ 729672 w 1375843"/>
                <a:gd name="connsiteY22" fmla="*/ 127840 h 232533"/>
                <a:gd name="connsiteX23" fmla="*/ 749302 w 1375843"/>
                <a:gd name="connsiteY23" fmla="*/ 132904 h 232533"/>
                <a:gd name="connsiteX24" fmla="*/ 794579 w 1375843"/>
                <a:gd name="connsiteY24" fmla="*/ 179095 h 232533"/>
                <a:gd name="connsiteX25" fmla="*/ 731570 w 1375843"/>
                <a:gd name="connsiteY25" fmla="*/ 232561 h 232533"/>
                <a:gd name="connsiteX26" fmla="*/ 665400 w 1375843"/>
                <a:gd name="connsiteY26" fmla="*/ 194280 h 232533"/>
                <a:gd name="connsiteX27" fmla="*/ 702761 w 1375843"/>
                <a:gd name="connsiteY27" fmla="*/ 173713 h 232533"/>
                <a:gd name="connsiteX28" fmla="*/ 731888 w 1375843"/>
                <a:gd name="connsiteY28" fmla="*/ 194912 h 232533"/>
                <a:gd name="connsiteX29" fmla="*/ 748352 w 1375843"/>
                <a:gd name="connsiteY29" fmla="*/ 182890 h 232533"/>
                <a:gd name="connsiteX30" fmla="*/ 734105 w 1375843"/>
                <a:gd name="connsiteY30" fmla="*/ 171185 h 232533"/>
                <a:gd name="connsiteX31" fmla="*/ 715742 w 1375843"/>
                <a:gd name="connsiteY31" fmla="*/ 166756 h 232533"/>
                <a:gd name="connsiteX32" fmla="*/ 671096 w 1375843"/>
                <a:gd name="connsiteY32" fmla="*/ 118668 h 232533"/>
                <a:gd name="connsiteX33" fmla="*/ 731570 w 1375843"/>
                <a:gd name="connsiteY33" fmla="*/ 68048 h 232533"/>
                <a:gd name="connsiteX34" fmla="*/ 243314 w 1375843"/>
                <a:gd name="connsiteY34" fmla="*/ 68047 h 232533"/>
                <a:gd name="connsiteX35" fmla="*/ 323101 w 1375843"/>
                <a:gd name="connsiteY35" fmla="*/ 151569 h 232533"/>
                <a:gd name="connsiteX36" fmla="*/ 322466 w 1375843"/>
                <a:gd name="connsiteY36" fmla="*/ 162956 h 232533"/>
                <a:gd name="connsiteX37" fmla="*/ 207534 w 1375843"/>
                <a:gd name="connsiteY37" fmla="*/ 162956 h 232533"/>
                <a:gd name="connsiteX38" fmla="*/ 245213 w 1375843"/>
                <a:gd name="connsiteY38" fmla="*/ 194597 h 232533"/>
                <a:gd name="connsiteX39" fmla="*/ 278773 w 1375843"/>
                <a:gd name="connsiteY39" fmla="*/ 175613 h 232533"/>
                <a:gd name="connsiteX40" fmla="*/ 317719 w 1375843"/>
                <a:gd name="connsiteY40" fmla="*/ 191116 h 232533"/>
                <a:gd name="connsiteX41" fmla="*/ 245213 w 1375843"/>
                <a:gd name="connsiteY41" fmla="*/ 232560 h 232533"/>
                <a:gd name="connsiteX42" fmla="*/ 162260 w 1375843"/>
                <a:gd name="connsiteY42" fmla="*/ 150303 h 232533"/>
                <a:gd name="connsiteX43" fmla="*/ 243314 w 1375843"/>
                <a:gd name="connsiteY43" fmla="*/ 68047 h 232533"/>
                <a:gd name="connsiteX44" fmla="*/ 1002285 w 1375843"/>
                <a:gd name="connsiteY44" fmla="*/ 68047 h 232533"/>
                <a:gd name="connsiteX45" fmla="*/ 1082068 w 1375843"/>
                <a:gd name="connsiteY45" fmla="*/ 151569 h 232533"/>
                <a:gd name="connsiteX46" fmla="*/ 1081436 w 1375843"/>
                <a:gd name="connsiteY46" fmla="*/ 162956 h 232533"/>
                <a:gd name="connsiteX47" fmla="*/ 966504 w 1375843"/>
                <a:gd name="connsiteY47" fmla="*/ 162956 h 232533"/>
                <a:gd name="connsiteX48" fmla="*/ 1004183 w 1375843"/>
                <a:gd name="connsiteY48" fmla="*/ 194597 h 232533"/>
                <a:gd name="connsiteX49" fmla="*/ 1037743 w 1375843"/>
                <a:gd name="connsiteY49" fmla="*/ 175613 h 232533"/>
                <a:gd name="connsiteX50" fmla="*/ 1076689 w 1375843"/>
                <a:gd name="connsiteY50" fmla="*/ 191116 h 232533"/>
                <a:gd name="connsiteX51" fmla="*/ 1004183 w 1375843"/>
                <a:gd name="connsiteY51" fmla="*/ 232560 h 232533"/>
                <a:gd name="connsiteX52" fmla="*/ 921231 w 1375843"/>
                <a:gd name="connsiteY52" fmla="*/ 150303 h 232533"/>
                <a:gd name="connsiteX53" fmla="*/ 1002285 w 1375843"/>
                <a:gd name="connsiteY53" fmla="*/ 68047 h 232533"/>
                <a:gd name="connsiteX54" fmla="*/ 871424 w 1375843"/>
                <a:gd name="connsiteY54" fmla="*/ 26288 h 232533"/>
                <a:gd name="connsiteX55" fmla="*/ 871424 w 1375843"/>
                <a:gd name="connsiteY55" fmla="*/ 72161 h 232533"/>
                <a:gd name="connsiteX56" fmla="*/ 911002 w 1375843"/>
                <a:gd name="connsiteY56" fmla="*/ 72161 h 232533"/>
                <a:gd name="connsiteX57" fmla="*/ 911002 w 1375843"/>
                <a:gd name="connsiteY57" fmla="*/ 110124 h 232533"/>
                <a:gd name="connsiteX58" fmla="*/ 871424 w 1375843"/>
                <a:gd name="connsiteY58" fmla="*/ 110124 h 232533"/>
                <a:gd name="connsiteX59" fmla="*/ 871424 w 1375843"/>
                <a:gd name="connsiteY59" fmla="*/ 167388 h 232533"/>
                <a:gd name="connsiteX60" fmla="*/ 893906 w 1375843"/>
                <a:gd name="connsiteY60" fmla="*/ 190797 h 232533"/>
                <a:gd name="connsiteX61" fmla="*/ 911002 w 1375843"/>
                <a:gd name="connsiteY61" fmla="*/ 186054 h 232533"/>
                <a:gd name="connsiteX62" fmla="*/ 911002 w 1375843"/>
                <a:gd name="connsiteY62" fmla="*/ 225918 h 232533"/>
                <a:gd name="connsiteX63" fmla="*/ 878709 w 1375843"/>
                <a:gd name="connsiteY63" fmla="*/ 232241 h 232533"/>
                <a:gd name="connsiteX64" fmla="*/ 825515 w 1375843"/>
                <a:gd name="connsiteY64" fmla="*/ 177195 h 232533"/>
                <a:gd name="connsiteX65" fmla="*/ 825515 w 1375843"/>
                <a:gd name="connsiteY65" fmla="*/ 110124 h 232533"/>
                <a:gd name="connsiteX66" fmla="*/ 803351 w 1375843"/>
                <a:gd name="connsiteY66" fmla="*/ 110124 h 232533"/>
                <a:gd name="connsiteX67" fmla="*/ 803351 w 1375843"/>
                <a:gd name="connsiteY67" fmla="*/ 72161 h 232533"/>
                <a:gd name="connsiteX68" fmla="*/ 825515 w 1375843"/>
                <a:gd name="connsiteY68" fmla="*/ 72161 h 232533"/>
                <a:gd name="connsiteX69" fmla="*/ 825515 w 1375843"/>
                <a:gd name="connsiteY69" fmla="*/ 26288 h 232533"/>
                <a:gd name="connsiteX70" fmla="*/ 871424 w 1375843"/>
                <a:gd name="connsiteY70" fmla="*/ 26288 h 232533"/>
                <a:gd name="connsiteX71" fmla="*/ 1336417 w 1375843"/>
                <a:gd name="connsiteY71" fmla="*/ 26288 h 232533"/>
                <a:gd name="connsiteX72" fmla="*/ 1336417 w 1375843"/>
                <a:gd name="connsiteY72" fmla="*/ 72161 h 232533"/>
                <a:gd name="connsiteX73" fmla="*/ 1375991 w 1375843"/>
                <a:gd name="connsiteY73" fmla="*/ 72161 h 232533"/>
                <a:gd name="connsiteX74" fmla="*/ 1375991 w 1375843"/>
                <a:gd name="connsiteY74" fmla="*/ 110124 h 232533"/>
                <a:gd name="connsiteX75" fmla="*/ 1336417 w 1375843"/>
                <a:gd name="connsiteY75" fmla="*/ 110124 h 232533"/>
                <a:gd name="connsiteX76" fmla="*/ 1336417 w 1375843"/>
                <a:gd name="connsiteY76" fmla="*/ 167388 h 232533"/>
                <a:gd name="connsiteX77" fmla="*/ 1358899 w 1375843"/>
                <a:gd name="connsiteY77" fmla="*/ 190797 h 232533"/>
                <a:gd name="connsiteX78" fmla="*/ 1375991 w 1375843"/>
                <a:gd name="connsiteY78" fmla="*/ 186054 h 232533"/>
                <a:gd name="connsiteX79" fmla="*/ 1375991 w 1375843"/>
                <a:gd name="connsiteY79" fmla="*/ 225918 h 232533"/>
                <a:gd name="connsiteX80" fmla="*/ 1343698 w 1375843"/>
                <a:gd name="connsiteY80" fmla="*/ 232241 h 232533"/>
                <a:gd name="connsiteX81" fmla="*/ 1290504 w 1375843"/>
                <a:gd name="connsiteY81" fmla="*/ 177195 h 232533"/>
                <a:gd name="connsiteX82" fmla="*/ 1290504 w 1375843"/>
                <a:gd name="connsiteY82" fmla="*/ 110124 h 232533"/>
                <a:gd name="connsiteX83" fmla="*/ 1268344 w 1375843"/>
                <a:gd name="connsiteY83" fmla="*/ 110124 h 232533"/>
                <a:gd name="connsiteX84" fmla="*/ 1268344 w 1375843"/>
                <a:gd name="connsiteY84" fmla="*/ 72161 h 232533"/>
                <a:gd name="connsiteX85" fmla="*/ 1290504 w 1375843"/>
                <a:gd name="connsiteY85" fmla="*/ 72161 h 232533"/>
                <a:gd name="connsiteX86" fmla="*/ 1290504 w 1375843"/>
                <a:gd name="connsiteY86" fmla="*/ 26288 h 232533"/>
                <a:gd name="connsiteX87" fmla="*/ 1336417 w 1375843"/>
                <a:gd name="connsiteY87" fmla="*/ 26288 h 232533"/>
                <a:gd name="connsiteX88" fmla="*/ 75506 w 1375843"/>
                <a:gd name="connsiteY88" fmla="*/ 6990 h 232533"/>
                <a:gd name="connsiteX89" fmla="*/ 156874 w 1375843"/>
                <a:gd name="connsiteY89" fmla="*/ 78487 h 232533"/>
                <a:gd name="connsiteX90" fmla="*/ 75506 w 1375843"/>
                <a:gd name="connsiteY90" fmla="*/ 149988 h 232533"/>
                <a:gd name="connsiteX91" fmla="*/ 47642 w 1375843"/>
                <a:gd name="connsiteY91" fmla="*/ 149988 h 232533"/>
                <a:gd name="connsiteX92" fmla="*/ 47642 w 1375843"/>
                <a:gd name="connsiteY92" fmla="*/ 228446 h 232533"/>
                <a:gd name="connsiteX93" fmla="*/ 148 w 1375843"/>
                <a:gd name="connsiteY93" fmla="*/ 228446 h 232533"/>
                <a:gd name="connsiteX94" fmla="*/ 148 w 1375843"/>
                <a:gd name="connsiteY94" fmla="*/ 6990 h 232533"/>
                <a:gd name="connsiteX95" fmla="*/ 75506 w 1375843"/>
                <a:gd name="connsiteY95" fmla="*/ 6990 h 232533"/>
                <a:gd name="connsiteX96" fmla="*/ 436104 w 1375843"/>
                <a:gd name="connsiteY96" fmla="*/ 68680 h 232533"/>
                <a:gd name="connsiteX97" fmla="*/ 444020 w 1375843"/>
                <a:gd name="connsiteY97" fmla="*/ 69629 h 232533"/>
                <a:gd name="connsiteX98" fmla="*/ 444020 w 1375843"/>
                <a:gd name="connsiteY98" fmla="*/ 117085 h 232533"/>
                <a:gd name="connsiteX99" fmla="*/ 432302 w 1375843"/>
                <a:gd name="connsiteY99" fmla="*/ 115188 h 232533"/>
                <a:gd name="connsiteX100" fmla="*/ 391461 w 1375843"/>
                <a:gd name="connsiteY100" fmla="*/ 164856 h 232533"/>
                <a:gd name="connsiteX101" fmla="*/ 391461 w 1375843"/>
                <a:gd name="connsiteY101" fmla="*/ 228446 h 232533"/>
                <a:gd name="connsiteX102" fmla="*/ 345552 w 1375843"/>
                <a:gd name="connsiteY102" fmla="*/ 228446 h 232533"/>
                <a:gd name="connsiteX103" fmla="*/ 345552 w 1375843"/>
                <a:gd name="connsiteY103" fmla="*/ 72161 h 232533"/>
                <a:gd name="connsiteX104" fmla="*/ 391144 w 1375843"/>
                <a:gd name="connsiteY104" fmla="*/ 72161 h 232533"/>
                <a:gd name="connsiteX105" fmla="*/ 391144 w 1375843"/>
                <a:gd name="connsiteY105" fmla="*/ 97788 h 232533"/>
                <a:gd name="connsiteX106" fmla="*/ 436104 w 1375843"/>
                <a:gd name="connsiteY106" fmla="*/ 68680 h 232533"/>
                <a:gd name="connsiteX107" fmla="*/ 646753 w 1375843"/>
                <a:gd name="connsiteY107" fmla="*/ 72159 h 232533"/>
                <a:gd name="connsiteX108" fmla="*/ 646753 w 1375843"/>
                <a:gd name="connsiteY108" fmla="*/ 228445 h 232533"/>
                <a:gd name="connsiteX109" fmla="*/ 600526 w 1375843"/>
                <a:gd name="connsiteY109" fmla="*/ 228445 h 232533"/>
                <a:gd name="connsiteX110" fmla="*/ 600526 w 1375843"/>
                <a:gd name="connsiteY110" fmla="*/ 72159 h 232533"/>
                <a:gd name="connsiteX111" fmla="*/ 646753 w 1375843"/>
                <a:gd name="connsiteY111" fmla="*/ 72159 h 232533"/>
                <a:gd name="connsiteX112" fmla="*/ 1196977 w 1375843"/>
                <a:gd name="connsiteY112" fmla="*/ 68048 h 232533"/>
                <a:gd name="connsiteX113" fmla="*/ 1254603 w 1375843"/>
                <a:gd name="connsiteY113" fmla="*/ 131957 h 232533"/>
                <a:gd name="connsiteX114" fmla="*/ 1254603 w 1375843"/>
                <a:gd name="connsiteY114" fmla="*/ 228446 h 232533"/>
                <a:gd name="connsiteX115" fmla="*/ 1208373 w 1375843"/>
                <a:gd name="connsiteY115" fmla="*/ 228446 h 232533"/>
                <a:gd name="connsiteX116" fmla="*/ 1208373 w 1375843"/>
                <a:gd name="connsiteY116" fmla="*/ 142709 h 232533"/>
                <a:gd name="connsiteX117" fmla="*/ 1180195 w 1375843"/>
                <a:gd name="connsiteY117" fmla="*/ 110441 h 232533"/>
                <a:gd name="connsiteX118" fmla="*/ 1150750 w 1375843"/>
                <a:gd name="connsiteY118" fmla="*/ 145558 h 232533"/>
                <a:gd name="connsiteX119" fmla="*/ 1150750 w 1375843"/>
                <a:gd name="connsiteY119" fmla="*/ 228446 h 232533"/>
                <a:gd name="connsiteX120" fmla="*/ 1104523 w 1375843"/>
                <a:gd name="connsiteY120" fmla="*/ 228446 h 232533"/>
                <a:gd name="connsiteX121" fmla="*/ 1104523 w 1375843"/>
                <a:gd name="connsiteY121" fmla="*/ 72160 h 232533"/>
                <a:gd name="connsiteX122" fmla="*/ 1150750 w 1375843"/>
                <a:gd name="connsiteY122" fmla="*/ 72160 h 232533"/>
                <a:gd name="connsiteX123" fmla="*/ 1150750 w 1375843"/>
                <a:gd name="connsiteY123" fmla="*/ 92092 h 232533"/>
                <a:gd name="connsiteX124" fmla="*/ 1196977 w 1375843"/>
                <a:gd name="connsiteY124" fmla="*/ 68048 h 232533"/>
                <a:gd name="connsiteX125" fmla="*/ 242996 w 1375843"/>
                <a:gd name="connsiteY125" fmla="*/ 104116 h 232533"/>
                <a:gd name="connsiteX126" fmla="*/ 207851 w 1375843"/>
                <a:gd name="connsiteY126" fmla="*/ 132903 h 232533"/>
                <a:gd name="connsiteX127" fmla="*/ 277823 w 1375843"/>
                <a:gd name="connsiteY127" fmla="*/ 132903 h 232533"/>
                <a:gd name="connsiteX128" fmla="*/ 242996 w 1375843"/>
                <a:gd name="connsiteY128" fmla="*/ 104116 h 232533"/>
                <a:gd name="connsiteX129" fmla="*/ 1001967 w 1375843"/>
                <a:gd name="connsiteY129" fmla="*/ 104116 h 232533"/>
                <a:gd name="connsiteX130" fmla="*/ 966822 w 1375843"/>
                <a:gd name="connsiteY130" fmla="*/ 132903 h 232533"/>
                <a:gd name="connsiteX131" fmla="*/ 1036794 w 1375843"/>
                <a:gd name="connsiteY131" fmla="*/ 132903 h 232533"/>
                <a:gd name="connsiteX132" fmla="*/ 1001967 w 1375843"/>
                <a:gd name="connsiteY132" fmla="*/ 104116 h 232533"/>
                <a:gd name="connsiteX133" fmla="*/ 76452 w 1375843"/>
                <a:gd name="connsiteY133" fmla="*/ 49700 h 232533"/>
                <a:gd name="connsiteX134" fmla="*/ 47642 w 1375843"/>
                <a:gd name="connsiteY134" fmla="*/ 49700 h 232533"/>
                <a:gd name="connsiteX135" fmla="*/ 47642 w 1375843"/>
                <a:gd name="connsiteY135" fmla="*/ 107909 h 232533"/>
                <a:gd name="connsiteX136" fmla="*/ 76452 w 1375843"/>
                <a:gd name="connsiteY136" fmla="*/ 107909 h 232533"/>
                <a:gd name="connsiteX137" fmla="*/ 109066 w 1375843"/>
                <a:gd name="connsiteY137" fmla="*/ 78805 h 232533"/>
                <a:gd name="connsiteX138" fmla="*/ 76452 w 1375843"/>
                <a:gd name="connsiteY138" fmla="*/ 49700 h 232533"/>
                <a:gd name="connsiteX139" fmla="*/ 623640 w 1375843"/>
                <a:gd name="connsiteY139" fmla="*/ 27 h 232533"/>
                <a:gd name="connsiteX140" fmla="*/ 650551 w 1375843"/>
                <a:gd name="connsiteY140" fmla="*/ 26917 h 232533"/>
                <a:gd name="connsiteX141" fmla="*/ 623640 w 1375843"/>
                <a:gd name="connsiteY141" fmla="*/ 53810 h 232533"/>
                <a:gd name="connsiteX142" fmla="*/ 596729 w 1375843"/>
                <a:gd name="connsiteY142" fmla="*/ 26917 h 232533"/>
                <a:gd name="connsiteX143" fmla="*/ 623640 w 1375843"/>
                <a:gd name="connsiteY143" fmla="*/ 27 h 23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375843" h="232533">
                  <a:moveTo>
                    <a:pt x="516051" y="68048"/>
                  </a:moveTo>
                  <a:cubicBezTo>
                    <a:pt x="542966" y="68048"/>
                    <a:pt x="568292" y="82598"/>
                    <a:pt x="578107" y="104431"/>
                  </a:cubicBezTo>
                  <a:lnTo>
                    <a:pt x="540432" y="124363"/>
                  </a:lnTo>
                  <a:cubicBezTo>
                    <a:pt x="535681" y="112655"/>
                    <a:pt x="525231" y="105062"/>
                    <a:pt x="515734" y="105062"/>
                  </a:cubicBezTo>
                  <a:cubicBezTo>
                    <a:pt x="507186" y="105062"/>
                    <a:pt x="501172" y="109492"/>
                    <a:pt x="501172" y="115818"/>
                  </a:cubicBezTo>
                  <a:cubicBezTo>
                    <a:pt x="501172" y="121514"/>
                    <a:pt x="505605" y="125626"/>
                    <a:pt x="514153" y="127840"/>
                  </a:cubicBezTo>
                  <a:lnTo>
                    <a:pt x="533783" y="132904"/>
                  </a:lnTo>
                  <a:cubicBezTo>
                    <a:pt x="563228" y="140497"/>
                    <a:pt x="579056" y="156948"/>
                    <a:pt x="579056" y="179095"/>
                  </a:cubicBezTo>
                  <a:cubicBezTo>
                    <a:pt x="579056" y="210414"/>
                    <a:pt x="552463" y="232561"/>
                    <a:pt x="516051" y="232561"/>
                  </a:cubicBezTo>
                  <a:cubicBezTo>
                    <a:pt x="485022" y="232561"/>
                    <a:pt x="460327" y="218324"/>
                    <a:pt x="449877" y="194280"/>
                  </a:cubicBezTo>
                  <a:lnTo>
                    <a:pt x="487238" y="173713"/>
                  </a:lnTo>
                  <a:cubicBezTo>
                    <a:pt x="492938" y="186688"/>
                    <a:pt x="504655" y="194912"/>
                    <a:pt x="516369" y="194912"/>
                  </a:cubicBezTo>
                  <a:cubicBezTo>
                    <a:pt x="526184" y="194912"/>
                    <a:pt x="532833" y="190482"/>
                    <a:pt x="532833" y="182890"/>
                  </a:cubicBezTo>
                  <a:cubicBezTo>
                    <a:pt x="532833" y="177512"/>
                    <a:pt x="528083" y="173396"/>
                    <a:pt x="518585" y="171185"/>
                  </a:cubicBezTo>
                  <a:lnTo>
                    <a:pt x="500222" y="166756"/>
                  </a:lnTo>
                  <a:cubicBezTo>
                    <a:pt x="470777" y="159794"/>
                    <a:pt x="455577" y="143343"/>
                    <a:pt x="455577" y="118668"/>
                  </a:cubicBezTo>
                  <a:cubicBezTo>
                    <a:pt x="455577" y="88928"/>
                    <a:pt x="480275" y="68048"/>
                    <a:pt x="516051" y="68048"/>
                  </a:cubicBezTo>
                  <a:close/>
                  <a:moveTo>
                    <a:pt x="731570" y="68048"/>
                  </a:moveTo>
                  <a:cubicBezTo>
                    <a:pt x="758485" y="68048"/>
                    <a:pt x="783815" y="82598"/>
                    <a:pt x="793630" y="104431"/>
                  </a:cubicBezTo>
                  <a:lnTo>
                    <a:pt x="755951" y="124363"/>
                  </a:lnTo>
                  <a:cubicBezTo>
                    <a:pt x="751204" y="112655"/>
                    <a:pt x="740754" y="105062"/>
                    <a:pt x="731253" y="105062"/>
                  </a:cubicBezTo>
                  <a:cubicBezTo>
                    <a:pt x="722705" y="105062"/>
                    <a:pt x="716691" y="109492"/>
                    <a:pt x="716691" y="115818"/>
                  </a:cubicBezTo>
                  <a:cubicBezTo>
                    <a:pt x="716691" y="121514"/>
                    <a:pt x="721124" y="125626"/>
                    <a:pt x="729672" y="127840"/>
                  </a:cubicBezTo>
                  <a:lnTo>
                    <a:pt x="749302" y="132904"/>
                  </a:lnTo>
                  <a:cubicBezTo>
                    <a:pt x="778751" y="140497"/>
                    <a:pt x="794579" y="156948"/>
                    <a:pt x="794579" y="179095"/>
                  </a:cubicBezTo>
                  <a:cubicBezTo>
                    <a:pt x="794579" y="210414"/>
                    <a:pt x="767982" y="232561"/>
                    <a:pt x="731570" y="232561"/>
                  </a:cubicBezTo>
                  <a:cubicBezTo>
                    <a:pt x="700544" y="232561"/>
                    <a:pt x="675846" y="218324"/>
                    <a:pt x="665400" y="194280"/>
                  </a:cubicBezTo>
                  <a:lnTo>
                    <a:pt x="702761" y="173713"/>
                  </a:lnTo>
                  <a:cubicBezTo>
                    <a:pt x="708461" y="186688"/>
                    <a:pt x="720174" y="194912"/>
                    <a:pt x="731888" y="194912"/>
                  </a:cubicBezTo>
                  <a:cubicBezTo>
                    <a:pt x="741703" y="194912"/>
                    <a:pt x="748352" y="190482"/>
                    <a:pt x="748352" y="182890"/>
                  </a:cubicBezTo>
                  <a:cubicBezTo>
                    <a:pt x="748352" y="177512"/>
                    <a:pt x="743602" y="173396"/>
                    <a:pt x="734105" y="171185"/>
                  </a:cubicBezTo>
                  <a:lnTo>
                    <a:pt x="715742" y="166756"/>
                  </a:lnTo>
                  <a:cubicBezTo>
                    <a:pt x="686297" y="159794"/>
                    <a:pt x="671096" y="143343"/>
                    <a:pt x="671096" y="118668"/>
                  </a:cubicBezTo>
                  <a:cubicBezTo>
                    <a:pt x="671096" y="88928"/>
                    <a:pt x="695794" y="68048"/>
                    <a:pt x="731570" y="68048"/>
                  </a:cubicBezTo>
                  <a:close/>
                  <a:moveTo>
                    <a:pt x="243314" y="68047"/>
                  </a:moveTo>
                  <a:cubicBezTo>
                    <a:pt x="290490" y="68047"/>
                    <a:pt x="323101" y="102533"/>
                    <a:pt x="323101" y="151569"/>
                  </a:cubicBezTo>
                  <a:cubicBezTo>
                    <a:pt x="323101" y="156947"/>
                    <a:pt x="322783" y="161059"/>
                    <a:pt x="322466" y="162956"/>
                  </a:cubicBezTo>
                  <a:lnTo>
                    <a:pt x="207534" y="162956"/>
                  </a:lnTo>
                  <a:cubicBezTo>
                    <a:pt x="209118" y="181305"/>
                    <a:pt x="225897" y="194597"/>
                    <a:pt x="245213" y="194597"/>
                  </a:cubicBezTo>
                  <a:cubicBezTo>
                    <a:pt x="262309" y="194597"/>
                    <a:pt x="271492" y="187318"/>
                    <a:pt x="278773" y="175613"/>
                  </a:cubicBezTo>
                  <a:lnTo>
                    <a:pt x="317719" y="191116"/>
                  </a:lnTo>
                  <a:cubicBezTo>
                    <a:pt x="304738" y="216740"/>
                    <a:pt x="279408" y="232560"/>
                    <a:pt x="245213" y="232560"/>
                  </a:cubicBezTo>
                  <a:cubicBezTo>
                    <a:pt x="196452" y="232560"/>
                    <a:pt x="162260" y="198709"/>
                    <a:pt x="162260" y="150303"/>
                  </a:cubicBezTo>
                  <a:cubicBezTo>
                    <a:pt x="162260" y="103168"/>
                    <a:pt x="197087" y="68047"/>
                    <a:pt x="243314" y="68047"/>
                  </a:cubicBezTo>
                  <a:close/>
                  <a:moveTo>
                    <a:pt x="1002285" y="68047"/>
                  </a:moveTo>
                  <a:cubicBezTo>
                    <a:pt x="1049457" y="68047"/>
                    <a:pt x="1082068" y="102533"/>
                    <a:pt x="1082068" y="151569"/>
                  </a:cubicBezTo>
                  <a:cubicBezTo>
                    <a:pt x="1082068" y="156947"/>
                    <a:pt x="1081754" y="161059"/>
                    <a:pt x="1081436" y="162956"/>
                  </a:cubicBezTo>
                  <a:lnTo>
                    <a:pt x="966504" y="162956"/>
                  </a:lnTo>
                  <a:cubicBezTo>
                    <a:pt x="968089" y="181305"/>
                    <a:pt x="984871" y="194597"/>
                    <a:pt x="1004183" y="194597"/>
                  </a:cubicBezTo>
                  <a:cubicBezTo>
                    <a:pt x="1021279" y="194597"/>
                    <a:pt x="1030463" y="187318"/>
                    <a:pt x="1037743" y="175613"/>
                  </a:cubicBezTo>
                  <a:lnTo>
                    <a:pt x="1076689" y="191116"/>
                  </a:lnTo>
                  <a:cubicBezTo>
                    <a:pt x="1063709" y="216740"/>
                    <a:pt x="1038379" y="232560"/>
                    <a:pt x="1004183" y="232560"/>
                  </a:cubicBezTo>
                  <a:cubicBezTo>
                    <a:pt x="955422" y="232560"/>
                    <a:pt x="921231" y="198709"/>
                    <a:pt x="921231" y="150303"/>
                  </a:cubicBezTo>
                  <a:cubicBezTo>
                    <a:pt x="921231" y="103168"/>
                    <a:pt x="956058" y="68047"/>
                    <a:pt x="1002285" y="68047"/>
                  </a:cubicBezTo>
                  <a:close/>
                  <a:moveTo>
                    <a:pt x="871424" y="26288"/>
                  </a:moveTo>
                  <a:lnTo>
                    <a:pt x="871424" y="72161"/>
                  </a:lnTo>
                  <a:lnTo>
                    <a:pt x="911002" y="72161"/>
                  </a:lnTo>
                  <a:lnTo>
                    <a:pt x="911002" y="110124"/>
                  </a:lnTo>
                  <a:lnTo>
                    <a:pt x="871424" y="110124"/>
                  </a:lnTo>
                  <a:lnTo>
                    <a:pt x="871424" y="167388"/>
                  </a:lnTo>
                  <a:cubicBezTo>
                    <a:pt x="871424" y="184157"/>
                    <a:pt x="878709" y="190797"/>
                    <a:pt x="893906" y="190797"/>
                  </a:cubicBezTo>
                  <a:cubicBezTo>
                    <a:pt x="899606" y="190797"/>
                    <a:pt x="905934" y="189217"/>
                    <a:pt x="911002" y="186054"/>
                  </a:cubicBezTo>
                  <a:lnTo>
                    <a:pt x="911002" y="225918"/>
                  </a:lnTo>
                  <a:cubicBezTo>
                    <a:pt x="904039" y="229395"/>
                    <a:pt x="893589" y="232241"/>
                    <a:pt x="878709" y="232241"/>
                  </a:cubicBezTo>
                  <a:cubicBezTo>
                    <a:pt x="845777" y="232241"/>
                    <a:pt x="825515" y="211995"/>
                    <a:pt x="825515" y="177195"/>
                  </a:cubicBezTo>
                  <a:lnTo>
                    <a:pt x="825515" y="110124"/>
                  </a:lnTo>
                  <a:lnTo>
                    <a:pt x="803351" y="110124"/>
                  </a:lnTo>
                  <a:lnTo>
                    <a:pt x="803351" y="72161"/>
                  </a:lnTo>
                  <a:lnTo>
                    <a:pt x="825515" y="72161"/>
                  </a:lnTo>
                  <a:lnTo>
                    <a:pt x="825515" y="26288"/>
                  </a:lnTo>
                  <a:lnTo>
                    <a:pt x="871424" y="26288"/>
                  </a:lnTo>
                  <a:close/>
                  <a:moveTo>
                    <a:pt x="1336417" y="26288"/>
                  </a:moveTo>
                  <a:lnTo>
                    <a:pt x="1336417" y="72161"/>
                  </a:lnTo>
                  <a:lnTo>
                    <a:pt x="1375991" y="72161"/>
                  </a:lnTo>
                  <a:lnTo>
                    <a:pt x="1375991" y="110124"/>
                  </a:lnTo>
                  <a:lnTo>
                    <a:pt x="1336417" y="110124"/>
                  </a:lnTo>
                  <a:lnTo>
                    <a:pt x="1336417" y="167388"/>
                  </a:lnTo>
                  <a:cubicBezTo>
                    <a:pt x="1336417" y="184157"/>
                    <a:pt x="1343698" y="190797"/>
                    <a:pt x="1358899" y="190797"/>
                  </a:cubicBezTo>
                  <a:cubicBezTo>
                    <a:pt x="1364595" y="190797"/>
                    <a:pt x="1370927" y="189217"/>
                    <a:pt x="1375991" y="186054"/>
                  </a:cubicBezTo>
                  <a:lnTo>
                    <a:pt x="1375991" y="225918"/>
                  </a:lnTo>
                  <a:cubicBezTo>
                    <a:pt x="1369028" y="229395"/>
                    <a:pt x="1358578" y="232241"/>
                    <a:pt x="1343698" y="232241"/>
                  </a:cubicBezTo>
                  <a:cubicBezTo>
                    <a:pt x="1310770" y="232241"/>
                    <a:pt x="1290504" y="211995"/>
                    <a:pt x="1290504" y="177195"/>
                  </a:cubicBezTo>
                  <a:lnTo>
                    <a:pt x="1290504" y="110124"/>
                  </a:lnTo>
                  <a:lnTo>
                    <a:pt x="1268344" y="110124"/>
                  </a:lnTo>
                  <a:lnTo>
                    <a:pt x="1268344" y="72161"/>
                  </a:lnTo>
                  <a:lnTo>
                    <a:pt x="1290504" y="72161"/>
                  </a:lnTo>
                  <a:lnTo>
                    <a:pt x="1290504" y="26288"/>
                  </a:lnTo>
                  <a:lnTo>
                    <a:pt x="1336417" y="26288"/>
                  </a:lnTo>
                  <a:close/>
                  <a:moveTo>
                    <a:pt x="75506" y="6990"/>
                  </a:moveTo>
                  <a:cubicBezTo>
                    <a:pt x="123632" y="6990"/>
                    <a:pt x="156874" y="32932"/>
                    <a:pt x="156874" y="78487"/>
                  </a:cubicBezTo>
                  <a:cubicBezTo>
                    <a:pt x="156874" y="123729"/>
                    <a:pt x="123632" y="149988"/>
                    <a:pt x="75506" y="149988"/>
                  </a:cubicBezTo>
                  <a:lnTo>
                    <a:pt x="47642" y="149988"/>
                  </a:lnTo>
                  <a:lnTo>
                    <a:pt x="47642" y="228446"/>
                  </a:lnTo>
                  <a:lnTo>
                    <a:pt x="148" y="228446"/>
                  </a:lnTo>
                  <a:lnTo>
                    <a:pt x="148" y="6990"/>
                  </a:lnTo>
                  <a:lnTo>
                    <a:pt x="75506" y="6990"/>
                  </a:lnTo>
                  <a:close/>
                  <a:moveTo>
                    <a:pt x="436104" y="68680"/>
                  </a:moveTo>
                  <a:cubicBezTo>
                    <a:pt x="439587" y="68680"/>
                    <a:pt x="443070" y="69311"/>
                    <a:pt x="444020" y="69629"/>
                  </a:cubicBezTo>
                  <a:lnTo>
                    <a:pt x="444020" y="117085"/>
                  </a:lnTo>
                  <a:cubicBezTo>
                    <a:pt x="441486" y="115819"/>
                    <a:pt x="437053" y="115188"/>
                    <a:pt x="432302" y="115188"/>
                  </a:cubicBezTo>
                  <a:cubicBezTo>
                    <a:pt x="406659" y="115188"/>
                    <a:pt x="391461" y="134168"/>
                    <a:pt x="391461" y="164856"/>
                  </a:cubicBezTo>
                  <a:lnTo>
                    <a:pt x="391461" y="228446"/>
                  </a:lnTo>
                  <a:lnTo>
                    <a:pt x="345552" y="228446"/>
                  </a:lnTo>
                  <a:lnTo>
                    <a:pt x="345552" y="72161"/>
                  </a:lnTo>
                  <a:lnTo>
                    <a:pt x="391144" y="72161"/>
                  </a:lnTo>
                  <a:lnTo>
                    <a:pt x="391144" y="97788"/>
                  </a:lnTo>
                  <a:cubicBezTo>
                    <a:pt x="399378" y="79753"/>
                    <a:pt x="415838" y="68680"/>
                    <a:pt x="436104" y="68680"/>
                  </a:cubicBezTo>
                  <a:close/>
                  <a:moveTo>
                    <a:pt x="646753" y="72159"/>
                  </a:moveTo>
                  <a:lnTo>
                    <a:pt x="646753" y="228445"/>
                  </a:lnTo>
                  <a:lnTo>
                    <a:pt x="600526" y="228445"/>
                  </a:lnTo>
                  <a:lnTo>
                    <a:pt x="600526" y="72159"/>
                  </a:lnTo>
                  <a:lnTo>
                    <a:pt x="646753" y="72159"/>
                  </a:lnTo>
                  <a:close/>
                  <a:moveTo>
                    <a:pt x="1196977" y="68048"/>
                  </a:moveTo>
                  <a:cubicBezTo>
                    <a:pt x="1232753" y="68048"/>
                    <a:pt x="1254603" y="92406"/>
                    <a:pt x="1254603" y="131957"/>
                  </a:cubicBezTo>
                  <a:lnTo>
                    <a:pt x="1254603" y="228446"/>
                  </a:lnTo>
                  <a:lnTo>
                    <a:pt x="1208373" y="228446"/>
                  </a:lnTo>
                  <a:lnTo>
                    <a:pt x="1208373" y="142709"/>
                  </a:lnTo>
                  <a:cubicBezTo>
                    <a:pt x="1208373" y="122149"/>
                    <a:pt x="1198244" y="110441"/>
                    <a:pt x="1180195" y="110441"/>
                  </a:cubicBezTo>
                  <a:cubicBezTo>
                    <a:pt x="1162464" y="110441"/>
                    <a:pt x="1150750" y="123729"/>
                    <a:pt x="1150750" y="145558"/>
                  </a:cubicBezTo>
                  <a:lnTo>
                    <a:pt x="1150750" y="228446"/>
                  </a:lnTo>
                  <a:lnTo>
                    <a:pt x="1104523" y="228446"/>
                  </a:lnTo>
                  <a:lnTo>
                    <a:pt x="1104523" y="72160"/>
                  </a:lnTo>
                  <a:lnTo>
                    <a:pt x="1150750" y="72160"/>
                  </a:lnTo>
                  <a:lnTo>
                    <a:pt x="1150750" y="92092"/>
                  </a:lnTo>
                  <a:cubicBezTo>
                    <a:pt x="1160251" y="76907"/>
                    <a:pt x="1176080" y="68048"/>
                    <a:pt x="1196977" y="68048"/>
                  </a:cubicBezTo>
                  <a:close/>
                  <a:moveTo>
                    <a:pt x="242996" y="104116"/>
                  </a:moveTo>
                  <a:cubicBezTo>
                    <a:pt x="224633" y="104116"/>
                    <a:pt x="209750" y="118035"/>
                    <a:pt x="207851" y="132903"/>
                  </a:cubicBezTo>
                  <a:lnTo>
                    <a:pt x="277823" y="132903"/>
                  </a:lnTo>
                  <a:cubicBezTo>
                    <a:pt x="275925" y="116138"/>
                    <a:pt x="261677" y="104116"/>
                    <a:pt x="242996" y="104116"/>
                  </a:cubicBezTo>
                  <a:close/>
                  <a:moveTo>
                    <a:pt x="1001967" y="104116"/>
                  </a:moveTo>
                  <a:cubicBezTo>
                    <a:pt x="983604" y="104116"/>
                    <a:pt x="968721" y="118035"/>
                    <a:pt x="966822" y="132903"/>
                  </a:cubicBezTo>
                  <a:lnTo>
                    <a:pt x="1036794" y="132903"/>
                  </a:lnTo>
                  <a:cubicBezTo>
                    <a:pt x="1034895" y="116138"/>
                    <a:pt x="1020648" y="104116"/>
                    <a:pt x="1001967" y="104116"/>
                  </a:cubicBezTo>
                  <a:close/>
                  <a:moveTo>
                    <a:pt x="76452" y="49700"/>
                  </a:moveTo>
                  <a:lnTo>
                    <a:pt x="47642" y="49700"/>
                  </a:lnTo>
                  <a:lnTo>
                    <a:pt x="47642" y="107909"/>
                  </a:lnTo>
                  <a:lnTo>
                    <a:pt x="76452" y="107909"/>
                  </a:lnTo>
                  <a:cubicBezTo>
                    <a:pt x="95450" y="107909"/>
                    <a:pt x="109066" y="97153"/>
                    <a:pt x="109066" y="78805"/>
                  </a:cubicBezTo>
                  <a:cubicBezTo>
                    <a:pt x="109066" y="60456"/>
                    <a:pt x="95450" y="49700"/>
                    <a:pt x="76452" y="49700"/>
                  </a:cubicBezTo>
                  <a:close/>
                  <a:moveTo>
                    <a:pt x="623640" y="27"/>
                  </a:moveTo>
                  <a:cubicBezTo>
                    <a:pt x="638519" y="27"/>
                    <a:pt x="650551" y="12366"/>
                    <a:pt x="650551" y="26917"/>
                  </a:cubicBezTo>
                  <a:cubicBezTo>
                    <a:pt x="650551" y="41471"/>
                    <a:pt x="638519" y="53810"/>
                    <a:pt x="623640" y="53810"/>
                  </a:cubicBezTo>
                  <a:cubicBezTo>
                    <a:pt x="608757" y="53810"/>
                    <a:pt x="596729" y="41471"/>
                    <a:pt x="596729" y="26917"/>
                  </a:cubicBezTo>
                  <a:cubicBezTo>
                    <a:pt x="596729" y="12366"/>
                    <a:pt x="608757" y="27"/>
                    <a:pt x="623640" y="27"/>
                  </a:cubicBezTo>
                  <a:close/>
                </a:path>
              </a:pathLst>
            </a:custGeom>
            <a:solidFill>
              <a:schemeClr val="tx2"/>
            </a:solidFill>
            <a:ln w="3905" cap="flat">
              <a:noFill/>
              <a:prstDash val="solid"/>
              <a:miter/>
            </a:ln>
          </p:spPr>
          <p:txBody>
            <a:bodyPr rtlCol="0" anchor="ctr"/>
            <a:lstStyle/>
            <a:p>
              <a:endParaRPr lang="en-US" dirty="0"/>
            </a:p>
          </p:txBody>
        </p:sp>
        <p:sp>
          <p:nvSpPr>
            <p:cNvPr id="8" name="Graphic 6">
              <a:extLst>
                <a:ext uri="{FF2B5EF4-FFF2-40B4-BE49-F238E27FC236}">
                  <a16:creationId xmlns:a16="http://schemas.microsoft.com/office/drawing/2014/main" id="{32364BB8-5033-4E4B-8F35-7CA8E38265C9}"/>
                </a:ext>
              </a:extLst>
            </p:cNvPr>
            <p:cNvSpPr/>
            <p:nvPr/>
          </p:nvSpPr>
          <p:spPr>
            <a:xfrm>
              <a:off x="3721526" y="2201333"/>
              <a:ext cx="410808" cy="439199"/>
            </a:xfrm>
            <a:custGeom>
              <a:avLst/>
              <a:gdLst>
                <a:gd name="connsiteX0" fmla="*/ 405227 w 410808"/>
                <a:gd name="connsiteY0" fmla="*/ 72915 h 439199"/>
                <a:gd name="connsiteX1" fmla="*/ 383294 w 410808"/>
                <a:gd name="connsiteY1" fmla="*/ 34663 h 439199"/>
                <a:gd name="connsiteX2" fmla="*/ 348424 w 410808"/>
                <a:gd name="connsiteY2" fmla="*/ 8998 h 439199"/>
                <a:gd name="connsiteX3" fmla="*/ 265296 w 410808"/>
                <a:gd name="connsiteY3" fmla="*/ 8948 h 439199"/>
                <a:gd name="connsiteX4" fmla="*/ 209272 w 410808"/>
                <a:gd name="connsiteY4" fmla="*/ 71420 h 439199"/>
                <a:gd name="connsiteX5" fmla="*/ 204362 w 410808"/>
                <a:gd name="connsiteY5" fmla="*/ 92591 h 439199"/>
                <a:gd name="connsiteX6" fmla="*/ 203494 w 410808"/>
                <a:gd name="connsiteY6" fmla="*/ 113947 h 439199"/>
                <a:gd name="connsiteX7" fmla="*/ 203862 w 410808"/>
                <a:gd name="connsiteY7" fmla="*/ 155087 h 439199"/>
                <a:gd name="connsiteX8" fmla="*/ 204482 w 410808"/>
                <a:gd name="connsiteY8" fmla="*/ 237371 h 439199"/>
                <a:gd name="connsiteX9" fmla="*/ 204703 w 410808"/>
                <a:gd name="connsiteY9" fmla="*/ 278511 h 439199"/>
                <a:gd name="connsiteX10" fmla="*/ 204760 w 410808"/>
                <a:gd name="connsiteY10" fmla="*/ 299081 h 439199"/>
                <a:gd name="connsiteX11" fmla="*/ 204892 w 410808"/>
                <a:gd name="connsiteY11" fmla="*/ 309309 h 439199"/>
                <a:gd name="connsiteX12" fmla="*/ 204642 w 410808"/>
                <a:gd name="connsiteY12" fmla="*/ 319233 h 439199"/>
                <a:gd name="connsiteX13" fmla="*/ 202117 w 410808"/>
                <a:gd name="connsiteY13" fmla="*/ 339029 h 439199"/>
                <a:gd name="connsiteX14" fmla="*/ 195891 w 410808"/>
                <a:gd name="connsiteY14" fmla="*/ 358138 h 439199"/>
                <a:gd name="connsiteX15" fmla="*/ 172778 w 410808"/>
                <a:gd name="connsiteY15" fmla="*/ 390919 h 439199"/>
                <a:gd name="connsiteX16" fmla="*/ 99701 w 410808"/>
                <a:gd name="connsiteY16" fmla="*/ 416828 h 439199"/>
                <a:gd name="connsiteX17" fmla="*/ 61780 w 410808"/>
                <a:gd name="connsiteY17" fmla="*/ 405754 h 439199"/>
                <a:gd name="connsiteX18" fmla="*/ 31507 w 410808"/>
                <a:gd name="connsiteY18" fmla="*/ 379649 h 439199"/>
                <a:gd name="connsiteX19" fmla="*/ 20639 w 410808"/>
                <a:gd name="connsiteY19" fmla="*/ 362519 h 439199"/>
                <a:gd name="connsiteX20" fmla="*/ 13089 w 410808"/>
                <a:gd name="connsiteY20" fmla="*/ 343608 h 439199"/>
                <a:gd name="connsiteX21" fmla="*/ 10038 w 410808"/>
                <a:gd name="connsiteY21" fmla="*/ 303436 h 439199"/>
                <a:gd name="connsiteX22" fmla="*/ 14586 w 410808"/>
                <a:gd name="connsiteY22" fmla="*/ 283970 h 439199"/>
                <a:gd name="connsiteX23" fmla="*/ 22408 w 410808"/>
                <a:gd name="connsiteY23" fmla="*/ 266007 h 439199"/>
                <a:gd name="connsiteX24" fmla="*/ 32914 w 410808"/>
                <a:gd name="connsiteY24" fmla="*/ 250254 h 439199"/>
                <a:gd name="connsiteX25" fmla="*/ 45733 w 410808"/>
                <a:gd name="connsiteY25" fmla="*/ 237251 h 439199"/>
                <a:gd name="connsiteX26" fmla="*/ 113570 w 410808"/>
                <a:gd name="connsiteY26" fmla="*/ 215045 h 439199"/>
                <a:gd name="connsiteX27" fmla="*/ 191127 w 410808"/>
                <a:gd name="connsiteY27" fmla="*/ 215325 h 439199"/>
                <a:gd name="connsiteX28" fmla="*/ 190929 w 410808"/>
                <a:gd name="connsiteY28" fmla="*/ 187223 h 439199"/>
                <a:gd name="connsiteX29" fmla="*/ 113703 w 410808"/>
                <a:gd name="connsiteY29" fmla="*/ 191528 h 439199"/>
                <a:gd name="connsiteX30" fmla="*/ 71854 w 410808"/>
                <a:gd name="connsiteY30" fmla="*/ 201940 h 439199"/>
                <a:gd name="connsiteX31" fmla="*/ 52843 w 410808"/>
                <a:gd name="connsiteY31" fmla="*/ 212357 h 439199"/>
                <a:gd name="connsiteX32" fmla="*/ 36125 w 410808"/>
                <a:gd name="connsiteY32" fmla="*/ 225973 h 439199"/>
                <a:gd name="connsiteX33" fmla="*/ 22431 w 410808"/>
                <a:gd name="connsiteY33" fmla="*/ 242521 h 439199"/>
                <a:gd name="connsiteX34" fmla="*/ 11996 w 410808"/>
                <a:gd name="connsiteY34" fmla="*/ 261262 h 439199"/>
                <a:gd name="connsiteX35" fmla="*/ 653 w 410808"/>
                <a:gd name="connsiteY35" fmla="*/ 302749 h 439199"/>
                <a:gd name="connsiteX36" fmla="*/ 3454 w 410808"/>
                <a:gd name="connsiteY36" fmla="*/ 346888 h 439199"/>
                <a:gd name="connsiteX37" fmla="*/ 21308 w 410808"/>
                <a:gd name="connsiteY37" fmla="*/ 388209 h 439199"/>
                <a:gd name="connsiteX38" fmla="*/ 54074 w 410808"/>
                <a:gd name="connsiteY38" fmla="*/ 420941 h 439199"/>
                <a:gd name="connsiteX39" fmla="*/ 98217 w 410808"/>
                <a:gd name="connsiteY39" fmla="*/ 437778 h 439199"/>
                <a:gd name="connsiteX40" fmla="*/ 104095 w 410808"/>
                <a:gd name="connsiteY40" fmla="*/ 438545 h 439199"/>
                <a:gd name="connsiteX41" fmla="*/ 110082 w 410808"/>
                <a:gd name="connsiteY41" fmla="*/ 439039 h 439199"/>
                <a:gd name="connsiteX42" fmla="*/ 116215 w 410808"/>
                <a:gd name="connsiteY42" fmla="*/ 439187 h 439199"/>
                <a:gd name="connsiteX43" fmla="*/ 122350 w 410808"/>
                <a:gd name="connsiteY43" fmla="*/ 438993 h 439199"/>
                <a:gd name="connsiteX44" fmla="*/ 146552 w 410808"/>
                <a:gd name="connsiteY44" fmla="*/ 434799 h 439199"/>
                <a:gd name="connsiteX45" fmla="*/ 169484 w 410808"/>
                <a:gd name="connsiteY45" fmla="*/ 425577 h 439199"/>
                <a:gd name="connsiteX46" fmla="*/ 190254 w 410808"/>
                <a:gd name="connsiteY46" fmla="*/ 411687 h 439199"/>
                <a:gd name="connsiteX47" fmla="*/ 221565 w 410808"/>
                <a:gd name="connsiteY47" fmla="*/ 371865 h 439199"/>
                <a:gd name="connsiteX48" fmla="*/ 224367 w 410808"/>
                <a:gd name="connsiteY48" fmla="*/ 366059 h 439199"/>
                <a:gd name="connsiteX49" fmla="*/ 226845 w 410808"/>
                <a:gd name="connsiteY49" fmla="*/ 360095 h 439199"/>
                <a:gd name="connsiteX50" fmla="*/ 230857 w 410808"/>
                <a:gd name="connsiteY50" fmla="*/ 347813 h 439199"/>
                <a:gd name="connsiteX51" fmla="*/ 235423 w 410808"/>
                <a:gd name="connsiteY51" fmla="*/ 322496 h 439199"/>
                <a:gd name="connsiteX52" fmla="*/ 236294 w 410808"/>
                <a:gd name="connsiteY52" fmla="*/ 309750 h 439199"/>
                <a:gd name="connsiteX53" fmla="*/ 236501 w 410808"/>
                <a:gd name="connsiteY53" fmla="*/ 304226 h 439199"/>
                <a:gd name="connsiteX54" fmla="*/ 236760 w 410808"/>
                <a:gd name="connsiteY54" fmla="*/ 299081 h 439199"/>
                <a:gd name="connsiteX55" fmla="*/ 237715 w 410808"/>
                <a:gd name="connsiteY55" fmla="*/ 278511 h 439199"/>
                <a:gd name="connsiteX56" fmla="*/ 238620 w 410808"/>
                <a:gd name="connsiteY56" fmla="*/ 237371 h 439199"/>
                <a:gd name="connsiteX57" fmla="*/ 240359 w 410808"/>
                <a:gd name="connsiteY57" fmla="*/ 155087 h 439199"/>
                <a:gd name="connsiteX58" fmla="*/ 241196 w 410808"/>
                <a:gd name="connsiteY58" fmla="*/ 113947 h 439199"/>
                <a:gd name="connsiteX59" fmla="*/ 241280 w 410808"/>
                <a:gd name="connsiteY59" fmla="*/ 108804 h 439199"/>
                <a:gd name="connsiteX60" fmla="*/ 241306 w 410808"/>
                <a:gd name="connsiteY60" fmla="*/ 107574 h 439199"/>
                <a:gd name="connsiteX61" fmla="*/ 241356 w 410808"/>
                <a:gd name="connsiteY61" fmla="*/ 106714 h 439199"/>
                <a:gd name="connsiteX62" fmla="*/ 241442 w 410808"/>
                <a:gd name="connsiteY62" fmla="*/ 104992 h 439199"/>
                <a:gd name="connsiteX63" fmla="*/ 242208 w 410808"/>
                <a:gd name="connsiteY63" fmla="*/ 98195 h 439199"/>
                <a:gd name="connsiteX64" fmla="*/ 245531 w 410808"/>
                <a:gd name="connsiteY64" fmla="*/ 85091 h 439199"/>
                <a:gd name="connsiteX65" fmla="*/ 259313 w 410808"/>
                <a:gd name="connsiteY65" fmla="*/ 62189 h 439199"/>
                <a:gd name="connsiteX66" fmla="*/ 280612 w 410808"/>
                <a:gd name="connsiteY66" fmla="*/ 46525 h 439199"/>
                <a:gd name="connsiteX67" fmla="*/ 306280 w 410808"/>
                <a:gd name="connsiteY67" fmla="*/ 41060 h 439199"/>
                <a:gd name="connsiteX68" fmla="*/ 332208 w 410808"/>
                <a:gd name="connsiteY68" fmla="*/ 46223 h 439199"/>
                <a:gd name="connsiteX69" fmla="*/ 354259 w 410808"/>
                <a:gd name="connsiteY69" fmla="*/ 61931 h 439199"/>
                <a:gd name="connsiteX70" fmla="*/ 368713 w 410808"/>
                <a:gd name="connsiteY70" fmla="*/ 85641 h 439199"/>
                <a:gd name="connsiteX71" fmla="*/ 372929 w 410808"/>
                <a:gd name="connsiteY71" fmla="*/ 113809 h 439199"/>
                <a:gd name="connsiteX72" fmla="*/ 366004 w 410808"/>
                <a:gd name="connsiteY72" fmla="*/ 141782 h 439199"/>
                <a:gd name="connsiteX73" fmla="*/ 348408 w 410808"/>
                <a:gd name="connsiteY73" fmla="*/ 164901 h 439199"/>
                <a:gd name="connsiteX74" fmla="*/ 322992 w 410808"/>
                <a:gd name="connsiteY74" fmla="*/ 178673 h 439199"/>
                <a:gd name="connsiteX75" fmla="*/ 308664 w 410808"/>
                <a:gd name="connsiteY75" fmla="*/ 181411 h 439199"/>
                <a:gd name="connsiteX76" fmla="*/ 306826 w 410808"/>
                <a:gd name="connsiteY76" fmla="*/ 181527 h 439199"/>
                <a:gd name="connsiteX77" fmla="*/ 304809 w 410808"/>
                <a:gd name="connsiteY77" fmla="*/ 181640 h 439199"/>
                <a:gd name="connsiteX78" fmla="*/ 299847 w 410808"/>
                <a:gd name="connsiteY78" fmla="*/ 181779 h 439199"/>
                <a:gd name="connsiteX79" fmla="*/ 289923 w 410808"/>
                <a:gd name="connsiteY79" fmla="*/ 182053 h 439199"/>
                <a:gd name="connsiteX80" fmla="*/ 252958 w 410808"/>
                <a:gd name="connsiteY80" fmla="*/ 183076 h 439199"/>
                <a:gd name="connsiteX81" fmla="*/ 252277 w 410808"/>
                <a:gd name="connsiteY81" fmla="*/ 215384 h 439199"/>
                <a:gd name="connsiteX82" fmla="*/ 289923 w 410808"/>
                <a:gd name="connsiteY82" fmla="*/ 215898 h 439199"/>
                <a:gd name="connsiteX83" fmla="*/ 299847 w 410808"/>
                <a:gd name="connsiteY83" fmla="*/ 216033 h 439199"/>
                <a:gd name="connsiteX84" fmla="*/ 304809 w 410808"/>
                <a:gd name="connsiteY84" fmla="*/ 216102 h 439199"/>
                <a:gd name="connsiteX85" fmla="*/ 310123 w 410808"/>
                <a:gd name="connsiteY85" fmla="*/ 216052 h 439199"/>
                <a:gd name="connsiteX86" fmla="*/ 331451 w 410808"/>
                <a:gd name="connsiteY86" fmla="*/ 213097 h 439199"/>
                <a:gd name="connsiteX87" fmla="*/ 370314 w 410808"/>
                <a:gd name="connsiteY87" fmla="*/ 194020 h 439199"/>
                <a:gd name="connsiteX88" fmla="*/ 398200 w 410808"/>
                <a:gd name="connsiteY88" fmla="*/ 159964 h 439199"/>
                <a:gd name="connsiteX89" fmla="*/ 405227 w 410808"/>
                <a:gd name="connsiteY89" fmla="*/ 72915 h 4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10808" h="439199">
                  <a:moveTo>
                    <a:pt x="405227" y="72915"/>
                  </a:moveTo>
                  <a:cubicBezTo>
                    <a:pt x="400578" y="58757"/>
                    <a:pt x="393120" y="45570"/>
                    <a:pt x="383294" y="34663"/>
                  </a:cubicBezTo>
                  <a:cubicBezTo>
                    <a:pt x="373506" y="23731"/>
                    <a:pt x="361554" y="14946"/>
                    <a:pt x="348424" y="8998"/>
                  </a:cubicBezTo>
                  <a:cubicBezTo>
                    <a:pt x="322142" y="-3040"/>
                    <a:pt x="291299" y="-2942"/>
                    <a:pt x="265296" y="8948"/>
                  </a:cubicBezTo>
                  <a:cubicBezTo>
                    <a:pt x="239223" y="20705"/>
                    <a:pt x="218629" y="43946"/>
                    <a:pt x="209272" y="71420"/>
                  </a:cubicBezTo>
                  <a:cubicBezTo>
                    <a:pt x="206934" y="78283"/>
                    <a:pt x="205287" y="85393"/>
                    <a:pt x="204362" y="92591"/>
                  </a:cubicBezTo>
                  <a:cubicBezTo>
                    <a:pt x="203373" y="99719"/>
                    <a:pt x="203378" y="107278"/>
                    <a:pt x="203494" y="113947"/>
                  </a:cubicBezTo>
                  <a:lnTo>
                    <a:pt x="203862" y="155087"/>
                  </a:lnTo>
                  <a:lnTo>
                    <a:pt x="204482" y="237371"/>
                  </a:lnTo>
                  <a:lnTo>
                    <a:pt x="204703" y="278511"/>
                  </a:lnTo>
                  <a:cubicBezTo>
                    <a:pt x="204730" y="285369"/>
                    <a:pt x="204655" y="292225"/>
                    <a:pt x="204760" y="299081"/>
                  </a:cubicBezTo>
                  <a:cubicBezTo>
                    <a:pt x="204797" y="302485"/>
                    <a:pt x="204913" y="305996"/>
                    <a:pt x="204892" y="309309"/>
                  </a:cubicBezTo>
                  <a:cubicBezTo>
                    <a:pt x="204935" y="312621"/>
                    <a:pt x="204706" y="315914"/>
                    <a:pt x="204642" y="319233"/>
                  </a:cubicBezTo>
                  <a:cubicBezTo>
                    <a:pt x="204223" y="325837"/>
                    <a:pt x="203496" y="332475"/>
                    <a:pt x="202117" y="339029"/>
                  </a:cubicBezTo>
                  <a:cubicBezTo>
                    <a:pt x="200780" y="345595"/>
                    <a:pt x="198632" y="352005"/>
                    <a:pt x="195891" y="358138"/>
                  </a:cubicBezTo>
                  <a:cubicBezTo>
                    <a:pt x="190381" y="370388"/>
                    <a:pt x="182595" y="381725"/>
                    <a:pt x="172778" y="390919"/>
                  </a:cubicBezTo>
                  <a:cubicBezTo>
                    <a:pt x="153090" y="409188"/>
                    <a:pt x="126137" y="419148"/>
                    <a:pt x="99701" y="416828"/>
                  </a:cubicBezTo>
                  <a:cubicBezTo>
                    <a:pt x="86501" y="415924"/>
                    <a:pt x="73485" y="412131"/>
                    <a:pt x="61780" y="405754"/>
                  </a:cubicBezTo>
                  <a:cubicBezTo>
                    <a:pt x="50049" y="399398"/>
                    <a:pt x="39725" y="390368"/>
                    <a:pt x="31507" y="379649"/>
                  </a:cubicBezTo>
                  <a:cubicBezTo>
                    <a:pt x="27379" y="374303"/>
                    <a:pt x="23745" y="368555"/>
                    <a:pt x="20639" y="362519"/>
                  </a:cubicBezTo>
                  <a:cubicBezTo>
                    <a:pt x="17531" y="356489"/>
                    <a:pt x="14908" y="350172"/>
                    <a:pt x="13089" y="343608"/>
                  </a:cubicBezTo>
                  <a:cubicBezTo>
                    <a:pt x="9155" y="330566"/>
                    <a:pt x="8248" y="316667"/>
                    <a:pt x="10038" y="303436"/>
                  </a:cubicBezTo>
                  <a:cubicBezTo>
                    <a:pt x="11020" y="296807"/>
                    <a:pt x="12548" y="290269"/>
                    <a:pt x="14586" y="283970"/>
                  </a:cubicBezTo>
                  <a:cubicBezTo>
                    <a:pt x="16710" y="277693"/>
                    <a:pt x="19338" y="271666"/>
                    <a:pt x="22408" y="266007"/>
                  </a:cubicBezTo>
                  <a:cubicBezTo>
                    <a:pt x="25433" y="260324"/>
                    <a:pt x="29016" y="255071"/>
                    <a:pt x="32914" y="250254"/>
                  </a:cubicBezTo>
                  <a:cubicBezTo>
                    <a:pt x="36748" y="245391"/>
                    <a:pt x="41021" y="240991"/>
                    <a:pt x="45733" y="237251"/>
                  </a:cubicBezTo>
                  <a:cubicBezTo>
                    <a:pt x="64156" y="221787"/>
                    <a:pt x="88593" y="215138"/>
                    <a:pt x="113570" y="215045"/>
                  </a:cubicBezTo>
                  <a:cubicBezTo>
                    <a:pt x="139421" y="215084"/>
                    <a:pt x="165270" y="215478"/>
                    <a:pt x="191127" y="215325"/>
                  </a:cubicBezTo>
                  <a:lnTo>
                    <a:pt x="190929" y="187223"/>
                  </a:lnTo>
                  <a:cubicBezTo>
                    <a:pt x="165190" y="187793"/>
                    <a:pt x="139439" y="189580"/>
                    <a:pt x="113703" y="191528"/>
                  </a:cubicBezTo>
                  <a:cubicBezTo>
                    <a:pt x="99353" y="192625"/>
                    <a:pt x="85175" y="196201"/>
                    <a:pt x="71854" y="201940"/>
                  </a:cubicBezTo>
                  <a:cubicBezTo>
                    <a:pt x="65184" y="204763"/>
                    <a:pt x="58851" y="208380"/>
                    <a:pt x="52843" y="212357"/>
                  </a:cubicBezTo>
                  <a:cubicBezTo>
                    <a:pt x="46863" y="216392"/>
                    <a:pt x="41182" y="220860"/>
                    <a:pt x="36125" y="225973"/>
                  </a:cubicBezTo>
                  <a:cubicBezTo>
                    <a:pt x="30974" y="230977"/>
                    <a:pt x="26456" y="236607"/>
                    <a:pt x="22431" y="242521"/>
                  </a:cubicBezTo>
                  <a:cubicBezTo>
                    <a:pt x="18388" y="248430"/>
                    <a:pt x="14856" y="254692"/>
                    <a:pt x="11996" y="261262"/>
                  </a:cubicBezTo>
                  <a:cubicBezTo>
                    <a:pt x="6026" y="274304"/>
                    <a:pt x="2201" y="288266"/>
                    <a:pt x="653" y="302749"/>
                  </a:cubicBezTo>
                  <a:cubicBezTo>
                    <a:pt x="-775" y="317368"/>
                    <a:pt x="130" y="332351"/>
                    <a:pt x="3454" y="346888"/>
                  </a:cubicBezTo>
                  <a:cubicBezTo>
                    <a:pt x="6834" y="361421"/>
                    <a:pt x="12832" y="375483"/>
                    <a:pt x="21308" y="388209"/>
                  </a:cubicBezTo>
                  <a:cubicBezTo>
                    <a:pt x="29806" y="400883"/>
                    <a:pt x="40859" y="412268"/>
                    <a:pt x="54074" y="420941"/>
                  </a:cubicBezTo>
                  <a:cubicBezTo>
                    <a:pt x="67269" y="429597"/>
                    <a:pt x="82567" y="435417"/>
                    <a:pt x="98217" y="437778"/>
                  </a:cubicBezTo>
                  <a:cubicBezTo>
                    <a:pt x="100177" y="438144"/>
                    <a:pt x="102132" y="438333"/>
                    <a:pt x="104095" y="438545"/>
                  </a:cubicBezTo>
                  <a:cubicBezTo>
                    <a:pt x="106053" y="438764"/>
                    <a:pt x="108018" y="438976"/>
                    <a:pt x="110082" y="439039"/>
                  </a:cubicBezTo>
                  <a:cubicBezTo>
                    <a:pt x="112127" y="439154"/>
                    <a:pt x="114173" y="439232"/>
                    <a:pt x="116215" y="439187"/>
                  </a:cubicBezTo>
                  <a:cubicBezTo>
                    <a:pt x="118264" y="439200"/>
                    <a:pt x="120311" y="439145"/>
                    <a:pt x="122350" y="438993"/>
                  </a:cubicBezTo>
                  <a:cubicBezTo>
                    <a:pt x="130532" y="438542"/>
                    <a:pt x="138662" y="437110"/>
                    <a:pt x="146552" y="434799"/>
                  </a:cubicBezTo>
                  <a:cubicBezTo>
                    <a:pt x="154446" y="432514"/>
                    <a:pt x="162134" y="429416"/>
                    <a:pt x="169484" y="425577"/>
                  </a:cubicBezTo>
                  <a:cubicBezTo>
                    <a:pt x="176844" y="421740"/>
                    <a:pt x="183753" y="416995"/>
                    <a:pt x="190254" y="411687"/>
                  </a:cubicBezTo>
                  <a:cubicBezTo>
                    <a:pt x="203123" y="400880"/>
                    <a:pt x="213711" y="387133"/>
                    <a:pt x="221565" y="371865"/>
                  </a:cubicBezTo>
                  <a:cubicBezTo>
                    <a:pt x="222577" y="369970"/>
                    <a:pt x="223498" y="368028"/>
                    <a:pt x="224367" y="366059"/>
                  </a:cubicBezTo>
                  <a:cubicBezTo>
                    <a:pt x="225271" y="364104"/>
                    <a:pt x="226086" y="362113"/>
                    <a:pt x="226845" y="360095"/>
                  </a:cubicBezTo>
                  <a:cubicBezTo>
                    <a:pt x="228462" y="356105"/>
                    <a:pt x="229772" y="351981"/>
                    <a:pt x="230857" y="347813"/>
                  </a:cubicBezTo>
                  <a:cubicBezTo>
                    <a:pt x="233096" y="339488"/>
                    <a:pt x="234490" y="330984"/>
                    <a:pt x="235423" y="322496"/>
                  </a:cubicBezTo>
                  <a:cubicBezTo>
                    <a:pt x="235752" y="318241"/>
                    <a:pt x="236175" y="313997"/>
                    <a:pt x="236294" y="309750"/>
                  </a:cubicBezTo>
                  <a:lnTo>
                    <a:pt x="236501" y="304226"/>
                  </a:lnTo>
                  <a:lnTo>
                    <a:pt x="236760" y="299081"/>
                  </a:lnTo>
                  <a:lnTo>
                    <a:pt x="237715" y="278511"/>
                  </a:lnTo>
                  <a:lnTo>
                    <a:pt x="238620" y="237371"/>
                  </a:lnTo>
                  <a:lnTo>
                    <a:pt x="240359" y="155087"/>
                  </a:lnTo>
                  <a:lnTo>
                    <a:pt x="241196" y="113947"/>
                  </a:lnTo>
                  <a:lnTo>
                    <a:pt x="241280" y="108804"/>
                  </a:lnTo>
                  <a:lnTo>
                    <a:pt x="241306" y="107574"/>
                  </a:lnTo>
                  <a:lnTo>
                    <a:pt x="241356" y="106714"/>
                  </a:lnTo>
                  <a:lnTo>
                    <a:pt x="241442" y="104992"/>
                  </a:lnTo>
                  <a:cubicBezTo>
                    <a:pt x="241588" y="102703"/>
                    <a:pt x="241849" y="100435"/>
                    <a:pt x="242208" y="98195"/>
                  </a:cubicBezTo>
                  <a:cubicBezTo>
                    <a:pt x="242959" y="93722"/>
                    <a:pt x="243989" y="89319"/>
                    <a:pt x="245531" y="85091"/>
                  </a:cubicBezTo>
                  <a:cubicBezTo>
                    <a:pt x="248591" y="76630"/>
                    <a:pt x="253398" y="68882"/>
                    <a:pt x="259313" y="62189"/>
                  </a:cubicBezTo>
                  <a:cubicBezTo>
                    <a:pt x="265289" y="55536"/>
                    <a:pt x="272591" y="50149"/>
                    <a:pt x="280612" y="46525"/>
                  </a:cubicBezTo>
                  <a:cubicBezTo>
                    <a:pt x="288648" y="42910"/>
                    <a:pt x="297369" y="41077"/>
                    <a:pt x="306280" y="41060"/>
                  </a:cubicBezTo>
                  <a:cubicBezTo>
                    <a:pt x="315179" y="40910"/>
                    <a:pt x="323995" y="42656"/>
                    <a:pt x="332208" y="46223"/>
                  </a:cubicBezTo>
                  <a:cubicBezTo>
                    <a:pt x="340413" y="49781"/>
                    <a:pt x="347999" y="55153"/>
                    <a:pt x="354259" y="61931"/>
                  </a:cubicBezTo>
                  <a:cubicBezTo>
                    <a:pt x="360472" y="68745"/>
                    <a:pt x="365502" y="76790"/>
                    <a:pt x="368713" y="85641"/>
                  </a:cubicBezTo>
                  <a:cubicBezTo>
                    <a:pt x="371944" y="94462"/>
                    <a:pt x="373395" y="104120"/>
                    <a:pt x="372929" y="113809"/>
                  </a:cubicBezTo>
                  <a:cubicBezTo>
                    <a:pt x="372502" y="123445"/>
                    <a:pt x="370189" y="132995"/>
                    <a:pt x="366004" y="141782"/>
                  </a:cubicBezTo>
                  <a:cubicBezTo>
                    <a:pt x="361795" y="150525"/>
                    <a:pt x="355854" y="158587"/>
                    <a:pt x="348408" y="164901"/>
                  </a:cubicBezTo>
                  <a:cubicBezTo>
                    <a:pt x="340986" y="171225"/>
                    <a:pt x="332299" y="175979"/>
                    <a:pt x="322992" y="178673"/>
                  </a:cubicBezTo>
                  <a:cubicBezTo>
                    <a:pt x="318349" y="180062"/>
                    <a:pt x="313555" y="181006"/>
                    <a:pt x="308664" y="181411"/>
                  </a:cubicBezTo>
                  <a:lnTo>
                    <a:pt x="306826" y="181527"/>
                  </a:lnTo>
                  <a:cubicBezTo>
                    <a:pt x="306157" y="181562"/>
                    <a:pt x="305737" y="181629"/>
                    <a:pt x="304809" y="181640"/>
                  </a:cubicBezTo>
                  <a:lnTo>
                    <a:pt x="299847" y="181779"/>
                  </a:lnTo>
                  <a:lnTo>
                    <a:pt x="289923" y="182053"/>
                  </a:lnTo>
                  <a:lnTo>
                    <a:pt x="252958" y="183076"/>
                  </a:lnTo>
                  <a:lnTo>
                    <a:pt x="252277" y="215384"/>
                  </a:lnTo>
                  <a:lnTo>
                    <a:pt x="289923" y="215898"/>
                  </a:lnTo>
                  <a:lnTo>
                    <a:pt x="299847" y="216033"/>
                  </a:lnTo>
                  <a:lnTo>
                    <a:pt x="304809" y="216102"/>
                  </a:lnTo>
                  <a:lnTo>
                    <a:pt x="310123" y="216052"/>
                  </a:lnTo>
                  <a:cubicBezTo>
                    <a:pt x="317289" y="215826"/>
                    <a:pt x="324450" y="214829"/>
                    <a:pt x="331451" y="213097"/>
                  </a:cubicBezTo>
                  <a:cubicBezTo>
                    <a:pt x="345480" y="209706"/>
                    <a:pt x="358841" y="203157"/>
                    <a:pt x="370314" y="194020"/>
                  </a:cubicBezTo>
                  <a:cubicBezTo>
                    <a:pt x="381841" y="184933"/>
                    <a:pt x="391276" y="173115"/>
                    <a:pt x="398200" y="159964"/>
                  </a:cubicBezTo>
                  <a:cubicBezTo>
                    <a:pt x="412085" y="133541"/>
                    <a:pt x="414616" y="101255"/>
                    <a:pt x="405227" y="72915"/>
                  </a:cubicBezTo>
                </a:path>
              </a:pathLst>
            </a:custGeom>
            <a:solidFill>
              <a:srgbClr val="FD5F07"/>
            </a:solidFill>
            <a:ln w="390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39469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with Swoosh Lef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3CC605A-5854-9D40-8D73-AF0A3BF9D3E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39673"/>
          <a:stretch/>
        </p:blipFill>
        <p:spPr>
          <a:xfrm>
            <a:off x="1297498" y="720000"/>
            <a:ext cx="10174626" cy="6138000"/>
          </a:xfrm>
          <a:prstGeom prst="rect">
            <a:avLst/>
          </a:prstGeom>
        </p:spPr>
      </p:pic>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0" y="2319866"/>
            <a:ext cx="6172200" cy="2633733"/>
          </a:xfrm>
          <a:noFill/>
        </p:spPr>
        <p:txBody>
          <a:bodyPr lIns="1296000" tIns="0" rIns="0" bIns="180000" anchor="b" anchorCtr="0"/>
          <a:lstStyle>
            <a:lvl1pPr marL="0" marR="0" indent="0" algn="l" defTabSz="914400" rtl="0" eaLnBrk="1" fontAlgn="auto" latinLnBrk="0" hangingPunct="1">
              <a:lnSpc>
                <a:spcPct val="100000"/>
              </a:lnSpc>
              <a:spcBef>
                <a:spcPct val="0"/>
              </a:spcBef>
              <a:spcAft>
                <a:spcPts val="0"/>
              </a:spcAft>
              <a:buClrTx/>
              <a:buSzTx/>
              <a:buFontTx/>
              <a:buNone/>
              <a:tabLst/>
              <a:defRPr sz="3200" b="1" i="0" spc="-150">
                <a:solidFill>
                  <a:schemeClr val="bg1"/>
                </a:solidFill>
                <a:latin typeface="Arial Black" panose="020B0604020202020204" pitchFamily="34" charset="0"/>
                <a:cs typeface="Arial Black" panose="020B0604020202020204" pitchFamily="34" charset="0"/>
              </a:defRPr>
            </a:lvl1pPr>
          </a:lstStyle>
          <a:p>
            <a:r>
              <a:rPr lang="en-US" dirty="0"/>
              <a:t>Deck Title (keep </a:t>
            </a:r>
            <a:br>
              <a:rPr lang="en-US" dirty="0"/>
            </a:br>
            <a:r>
              <a:rPr lang="en-US" dirty="0"/>
              <a:t>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0" y="4950000"/>
            <a:ext cx="6172200" cy="813600"/>
          </a:xfrm>
          <a:prstGeom prst="rect">
            <a:avLst/>
          </a:prstGeom>
          <a:noFill/>
        </p:spPr>
        <p:txBody>
          <a:bodyPr lIns="1296000" tIns="180000" rIns="0" bIns="180000" anchor="ctr"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7" name="Group 6">
            <a:extLst>
              <a:ext uri="{FF2B5EF4-FFF2-40B4-BE49-F238E27FC236}">
                <a16:creationId xmlns:a16="http://schemas.microsoft.com/office/drawing/2014/main" id="{8135FD41-4CFF-BE42-9714-401D3403DEBD}"/>
              </a:ext>
            </a:extLst>
          </p:cNvPr>
          <p:cNvGrpSpPr/>
          <p:nvPr userDrawn="1"/>
        </p:nvGrpSpPr>
        <p:grpSpPr>
          <a:xfrm>
            <a:off x="1297498" y="720000"/>
            <a:ext cx="1371899" cy="1262947"/>
            <a:chOff x="3217078" y="645877"/>
            <a:chExt cx="1857509" cy="1709991"/>
          </a:xfrm>
        </p:grpSpPr>
        <p:sp>
          <p:nvSpPr>
            <p:cNvPr id="8" name="Graphic 6">
              <a:extLst>
                <a:ext uri="{FF2B5EF4-FFF2-40B4-BE49-F238E27FC236}">
                  <a16:creationId xmlns:a16="http://schemas.microsoft.com/office/drawing/2014/main" id="{1FD4C0D6-4A2F-D648-B46B-EC25A11E612C}"/>
                </a:ext>
              </a:extLst>
            </p:cNvPr>
            <p:cNvSpPr/>
            <p:nvPr/>
          </p:nvSpPr>
          <p:spPr>
            <a:xfrm>
              <a:off x="3557175" y="645877"/>
              <a:ext cx="1185839" cy="1256530"/>
            </a:xfrm>
            <a:custGeom>
              <a:avLst/>
              <a:gdLst>
                <a:gd name="connsiteX0" fmla="*/ 1169730 w 1185839"/>
                <a:gd name="connsiteY0" fmla="*/ 208605 h 1256530"/>
                <a:gd name="connsiteX1" fmla="*/ 1106417 w 1185839"/>
                <a:gd name="connsiteY1" fmla="*/ 99168 h 1256530"/>
                <a:gd name="connsiteX2" fmla="*/ 1005757 w 1185839"/>
                <a:gd name="connsiteY2" fmla="*/ 25743 h 1256530"/>
                <a:gd name="connsiteX3" fmla="*/ 765803 w 1185839"/>
                <a:gd name="connsiteY3" fmla="*/ 25600 h 1256530"/>
                <a:gd name="connsiteX4" fmla="*/ 604084 w 1185839"/>
                <a:gd name="connsiteY4" fmla="*/ 204330 h 1256530"/>
                <a:gd name="connsiteX5" fmla="*/ 589910 w 1185839"/>
                <a:gd name="connsiteY5" fmla="*/ 264899 h 1256530"/>
                <a:gd name="connsiteX6" fmla="*/ 587406 w 1185839"/>
                <a:gd name="connsiteY6" fmla="*/ 325998 h 1256530"/>
                <a:gd name="connsiteX7" fmla="*/ 588467 w 1185839"/>
                <a:gd name="connsiteY7" fmla="*/ 443697 h 1256530"/>
                <a:gd name="connsiteX8" fmla="*/ 590255 w 1185839"/>
                <a:gd name="connsiteY8" fmla="*/ 679107 h 1256530"/>
                <a:gd name="connsiteX9" fmla="*/ 590894 w 1185839"/>
                <a:gd name="connsiteY9" fmla="*/ 796807 h 1256530"/>
                <a:gd name="connsiteX10" fmla="*/ 591059 w 1185839"/>
                <a:gd name="connsiteY10" fmla="*/ 855657 h 1256530"/>
                <a:gd name="connsiteX11" fmla="*/ 591440 w 1185839"/>
                <a:gd name="connsiteY11" fmla="*/ 884920 h 1256530"/>
                <a:gd name="connsiteX12" fmla="*/ 590719 w 1185839"/>
                <a:gd name="connsiteY12" fmla="*/ 913310 h 1256530"/>
                <a:gd name="connsiteX13" fmla="*/ 583428 w 1185839"/>
                <a:gd name="connsiteY13" fmla="*/ 969943 h 1256530"/>
                <a:gd name="connsiteX14" fmla="*/ 565456 w 1185839"/>
                <a:gd name="connsiteY14" fmla="*/ 1024617 h 1256530"/>
                <a:gd name="connsiteX15" fmla="*/ 498739 w 1185839"/>
                <a:gd name="connsiteY15" fmla="*/ 1118403 h 1256530"/>
                <a:gd name="connsiteX16" fmla="*/ 287796 w 1185839"/>
                <a:gd name="connsiteY16" fmla="*/ 1192525 h 1256530"/>
                <a:gd name="connsiteX17" fmla="*/ 178334 w 1185839"/>
                <a:gd name="connsiteY17" fmla="*/ 1160849 h 1256530"/>
                <a:gd name="connsiteX18" fmla="*/ 90949 w 1185839"/>
                <a:gd name="connsiteY18" fmla="*/ 1086159 h 1256530"/>
                <a:gd name="connsiteX19" fmla="*/ 59576 w 1185839"/>
                <a:gd name="connsiteY19" fmla="*/ 1037149 h 1256530"/>
                <a:gd name="connsiteX20" fmla="*/ 37782 w 1185839"/>
                <a:gd name="connsiteY20" fmla="*/ 983043 h 1256530"/>
                <a:gd name="connsiteX21" fmla="*/ 28977 w 1185839"/>
                <a:gd name="connsiteY21" fmla="*/ 868116 h 1256530"/>
                <a:gd name="connsiteX22" fmla="*/ 42104 w 1185839"/>
                <a:gd name="connsiteY22" fmla="*/ 812426 h 1256530"/>
                <a:gd name="connsiteX23" fmla="*/ 64682 w 1185839"/>
                <a:gd name="connsiteY23" fmla="*/ 761033 h 1256530"/>
                <a:gd name="connsiteX24" fmla="*/ 95009 w 1185839"/>
                <a:gd name="connsiteY24" fmla="*/ 715966 h 1256530"/>
                <a:gd name="connsiteX25" fmla="*/ 132014 w 1185839"/>
                <a:gd name="connsiteY25" fmla="*/ 678763 h 1256530"/>
                <a:gd name="connsiteX26" fmla="*/ 327830 w 1185839"/>
                <a:gd name="connsiteY26" fmla="*/ 615235 h 1256530"/>
                <a:gd name="connsiteX27" fmla="*/ 551705 w 1185839"/>
                <a:gd name="connsiteY27" fmla="*/ 616034 h 1256530"/>
                <a:gd name="connsiteX28" fmla="*/ 551133 w 1185839"/>
                <a:gd name="connsiteY28" fmla="*/ 535637 h 1256530"/>
                <a:gd name="connsiteX29" fmla="*/ 328216 w 1185839"/>
                <a:gd name="connsiteY29" fmla="*/ 547953 h 1256530"/>
                <a:gd name="connsiteX30" fmla="*/ 207414 w 1185839"/>
                <a:gd name="connsiteY30" fmla="*/ 577741 h 1256530"/>
                <a:gd name="connsiteX31" fmla="*/ 152535 w 1185839"/>
                <a:gd name="connsiteY31" fmla="*/ 607544 h 1256530"/>
                <a:gd name="connsiteX32" fmla="*/ 104279 w 1185839"/>
                <a:gd name="connsiteY32" fmla="*/ 646499 h 1256530"/>
                <a:gd name="connsiteX33" fmla="*/ 64749 w 1185839"/>
                <a:gd name="connsiteY33" fmla="*/ 693842 h 1256530"/>
                <a:gd name="connsiteX34" fmla="*/ 34629 w 1185839"/>
                <a:gd name="connsiteY34" fmla="*/ 747458 h 1256530"/>
                <a:gd name="connsiteX35" fmla="*/ 1885 w 1185839"/>
                <a:gd name="connsiteY35" fmla="*/ 866152 h 1256530"/>
                <a:gd name="connsiteX36" fmla="*/ 9970 w 1185839"/>
                <a:gd name="connsiteY36" fmla="*/ 992430 h 1256530"/>
                <a:gd name="connsiteX37" fmla="*/ 61509 w 1185839"/>
                <a:gd name="connsiteY37" fmla="*/ 1110646 h 1256530"/>
                <a:gd name="connsiteX38" fmla="*/ 156091 w 1185839"/>
                <a:gd name="connsiteY38" fmla="*/ 1204289 h 1256530"/>
                <a:gd name="connsiteX39" fmla="*/ 283514 w 1185839"/>
                <a:gd name="connsiteY39" fmla="*/ 1252466 h 1256530"/>
                <a:gd name="connsiteX40" fmla="*/ 300480 w 1185839"/>
                <a:gd name="connsiteY40" fmla="*/ 1254654 h 1256530"/>
                <a:gd name="connsiteX41" fmla="*/ 317762 w 1185839"/>
                <a:gd name="connsiteY41" fmla="*/ 1256075 h 1256530"/>
                <a:gd name="connsiteX42" fmla="*/ 335465 w 1185839"/>
                <a:gd name="connsiteY42" fmla="*/ 1256492 h 1256530"/>
                <a:gd name="connsiteX43" fmla="*/ 353174 w 1185839"/>
                <a:gd name="connsiteY43" fmla="*/ 1255942 h 1256530"/>
                <a:gd name="connsiteX44" fmla="*/ 423035 w 1185839"/>
                <a:gd name="connsiteY44" fmla="*/ 1243941 h 1256530"/>
                <a:gd name="connsiteX45" fmla="*/ 489233 w 1185839"/>
                <a:gd name="connsiteY45" fmla="*/ 1217560 h 1256530"/>
                <a:gd name="connsiteX46" fmla="*/ 549186 w 1185839"/>
                <a:gd name="connsiteY46" fmla="*/ 1177814 h 1256530"/>
                <a:gd name="connsiteX47" fmla="*/ 639569 w 1185839"/>
                <a:gd name="connsiteY47" fmla="*/ 1063890 h 1256530"/>
                <a:gd name="connsiteX48" fmla="*/ 647655 w 1185839"/>
                <a:gd name="connsiteY48" fmla="*/ 1047275 h 1256530"/>
                <a:gd name="connsiteX49" fmla="*/ 654809 w 1185839"/>
                <a:gd name="connsiteY49" fmla="*/ 1030216 h 1256530"/>
                <a:gd name="connsiteX50" fmla="*/ 666391 w 1185839"/>
                <a:gd name="connsiteY50" fmla="*/ 995073 h 1256530"/>
                <a:gd name="connsiteX51" fmla="*/ 679574 w 1185839"/>
                <a:gd name="connsiteY51" fmla="*/ 922646 h 1256530"/>
                <a:gd name="connsiteX52" fmla="*/ 682088 w 1185839"/>
                <a:gd name="connsiteY52" fmla="*/ 886180 h 1256530"/>
                <a:gd name="connsiteX53" fmla="*/ 682688 w 1185839"/>
                <a:gd name="connsiteY53" fmla="*/ 870376 h 1256530"/>
                <a:gd name="connsiteX54" fmla="*/ 683431 w 1185839"/>
                <a:gd name="connsiteY54" fmla="*/ 855657 h 1256530"/>
                <a:gd name="connsiteX55" fmla="*/ 686184 w 1185839"/>
                <a:gd name="connsiteY55" fmla="*/ 796807 h 1256530"/>
                <a:gd name="connsiteX56" fmla="*/ 688803 w 1185839"/>
                <a:gd name="connsiteY56" fmla="*/ 679107 h 1256530"/>
                <a:gd name="connsiteX57" fmla="*/ 693813 w 1185839"/>
                <a:gd name="connsiteY57" fmla="*/ 443697 h 1256530"/>
                <a:gd name="connsiteX58" fmla="*/ 696233 w 1185839"/>
                <a:gd name="connsiteY58" fmla="*/ 325998 h 1256530"/>
                <a:gd name="connsiteX59" fmla="*/ 696480 w 1185839"/>
                <a:gd name="connsiteY59" fmla="*/ 311285 h 1256530"/>
                <a:gd name="connsiteX60" fmla="*/ 696557 w 1185839"/>
                <a:gd name="connsiteY60" fmla="*/ 307765 h 1256530"/>
                <a:gd name="connsiteX61" fmla="*/ 696699 w 1185839"/>
                <a:gd name="connsiteY61" fmla="*/ 305304 h 1256530"/>
                <a:gd name="connsiteX62" fmla="*/ 696947 w 1185839"/>
                <a:gd name="connsiteY62" fmla="*/ 300377 h 1256530"/>
                <a:gd name="connsiteX63" fmla="*/ 699157 w 1185839"/>
                <a:gd name="connsiteY63" fmla="*/ 280931 h 1256530"/>
                <a:gd name="connsiteX64" fmla="*/ 708749 w 1185839"/>
                <a:gd name="connsiteY64" fmla="*/ 243443 h 1256530"/>
                <a:gd name="connsiteX65" fmla="*/ 748535 w 1185839"/>
                <a:gd name="connsiteY65" fmla="*/ 177919 h 1256530"/>
                <a:gd name="connsiteX66" fmla="*/ 810018 w 1185839"/>
                <a:gd name="connsiteY66" fmla="*/ 133105 h 1256530"/>
                <a:gd name="connsiteX67" fmla="*/ 884104 w 1185839"/>
                <a:gd name="connsiteY67" fmla="*/ 117471 h 1256530"/>
                <a:gd name="connsiteX68" fmla="*/ 958951 w 1185839"/>
                <a:gd name="connsiteY68" fmla="*/ 132243 h 1256530"/>
                <a:gd name="connsiteX69" fmla="*/ 1022597 w 1185839"/>
                <a:gd name="connsiteY69" fmla="*/ 177183 h 1256530"/>
                <a:gd name="connsiteX70" fmla="*/ 1064326 w 1185839"/>
                <a:gd name="connsiteY70" fmla="*/ 245014 h 1256530"/>
                <a:gd name="connsiteX71" fmla="*/ 1076490 w 1185839"/>
                <a:gd name="connsiteY71" fmla="*/ 325602 h 1256530"/>
                <a:gd name="connsiteX72" fmla="*/ 1056506 w 1185839"/>
                <a:gd name="connsiteY72" fmla="*/ 405633 h 1256530"/>
                <a:gd name="connsiteX73" fmla="*/ 1005710 w 1185839"/>
                <a:gd name="connsiteY73" fmla="*/ 471775 h 1256530"/>
                <a:gd name="connsiteX74" fmla="*/ 932348 w 1185839"/>
                <a:gd name="connsiteY74" fmla="*/ 511175 h 1256530"/>
                <a:gd name="connsiteX75" fmla="*/ 890990 w 1185839"/>
                <a:gd name="connsiteY75" fmla="*/ 519008 h 1256530"/>
                <a:gd name="connsiteX76" fmla="*/ 885685 w 1185839"/>
                <a:gd name="connsiteY76" fmla="*/ 519341 h 1256530"/>
                <a:gd name="connsiteX77" fmla="*/ 879856 w 1185839"/>
                <a:gd name="connsiteY77" fmla="*/ 519664 h 1256530"/>
                <a:gd name="connsiteX78" fmla="*/ 865540 w 1185839"/>
                <a:gd name="connsiteY78" fmla="*/ 520061 h 1256530"/>
                <a:gd name="connsiteX79" fmla="*/ 836888 w 1185839"/>
                <a:gd name="connsiteY79" fmla="*/ 520844 h 1256530"/>
                <a:gd name="connsiteX80" fmla="*/ 730189 w 1185839"/>
                <a:gd name="connsiteY80" fmla="*/ 523771 h 1256530"/>
                <a:gd name="connsiteX81" fmla="*/ 728218 w 1185839"/>
                <a:gd name="connsiteY81" fmla="*/ 616204 h 1256530"/>
                <a:gd name="connsiteX82" fmla="*/ 836888 w 1185839"/>
                <a:gd name="connsiteY82" fmla="*/ 617675 h 1256530"/>
                <a:gd name="connsiteX83" fmla="*/ 865540 w 1185839"/>
                <a:gd name="connsiteY83" fmla="*/ 618061 h 1256530"/>
                <a:gd name="connsiteX84" fmla="*/ 879856 w 1185839"/>
                <a:gd name="connsiteY84" fmla="*/ 618257 h 1256530"/>
                <a:gd name="connsiteX85" fmla="*/ 895201 w 1185839"/>
                <a:gd name="connsiteY85" fmla="*/ 618114 h 1256530"/>
                <a:gd name="connsiteX86" fmla="*/ 956761 w 1185839"/>
                <a:gd name="connsiteY86" fmla="*/ 609661 h 1256530"/>
                <a:gd name="connsiteX87" fmla="*/ 1068946 w 1185839"/>
                <a:gd name="connsiteY87" fmla="*/ 555083 h 1256530"/>
                <a:gd name="connsiteX88" fmla="*/ 1149442 w 1185839"/>
                <a:gd name="connsiteY88" fmla="*/ 457649 h 1256530"/>
                <a:gd name="connsiteX89" fmla="*/ 1169730 w 1185839"/>
                <a:gd name="connsiteY89" fmla="*/ 208605 h 125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85839" h="1256530">
                  <a:moveTo>
                    <a:pt x="1169730" y="208605"/>
                  </a:moveTo>
                  <a:cubicBezTo>
                    <a:pt x="1156309" y="168101"/>
                    <a:pt x="1134783" y="130374"/>
                    <a:pt x="1106417" y="99168"/>
                  </a:cubicBezTo>
                  <a:cubicBezTo>
                    <a:pt x="1078157" y="67894"/>
                    <a:pt x="1043657" y="42759"/>
                    <a:pt x="1005757" y="25743"/>
                  </a:cubicBezTo>
                  <a:cubicBezTo>
                    <a:pt x="929891" y="-8697"/>
                    <a:pt x="840860" y="-8417"/>
                    <a:pt x="765803" y="25600"/>
                  </a:cubicBezTo>
                  <a:cubicBezTo>
                    <a:pt x="690537" y="59235"/>
                    <a:pt x="631091" y="125727"/>
                    <a:pt x="604084" y="204330"/>
                  </a:cubicBezTo>
                  <a:cubicBezTo>
                    <a:pt x="597335" y="223965"/>
                    <a:pt x="592579" y="244305"/>
                    <a:pt x="589910" y="264899"/>
                  </a:cubicBezTo>
                  <a:cubicBezTo>
                    <a:pt x="587055" y="285292"/>
                    <a:pt x="587071" y="306918"/>
                    <a:pt x="587406" y="325998"/>
                  </a:cubicBezTo>
                  <a:lnTo>
                    <a:pt x="588467" y="443697"/>
                  </a:lnTo>
                  <a:lnTo>
                    <a:pt x="590255" y="679107"/>
                  </a:lnTo>
                  <a:lnTo>
                    <a:pt x="590894" y="796807"/>
                  </a:lnTo>
                  <a:cubicBezTo>
                    <a:pt x="590971" y="816427"/>
                    <a:pt x="590755" y="836041"/>
                    <a:pt x="591059" y="855657"/>
                  </a:cubicBezTo>
                  <a:cubicBezTo>
                    <a:pt x="591167" y="865395"/>
                    <a:pt x="591502" y="875441"/>
                    <a:pt x="591440" y="884920"/>
                  </a:cubicBezTo>
                  <a:cubicBezTo>
                    <a:pt x="591564" y="894394"/>
                    <a:pt x="590904" y="903815"/>
                    <a:pt x="590719" y="913310"/>
                  </a:cubicBezTo>
                  <a:cubicBezTo>
                    <a:pt x="589508" y="932205"/>
                    <a:pt x="587411" y="951197"/>
                    <a:pt x="583428" y="969943"/>
                  </a:cubicBezTo>
                  <a:cubicBezTo>
                    <a:pt x="579569" y="988727"/>
                    <a:pt x="573371" y="1007075"/>
                    <a:pt x="565456" y="1024617"/>
                  </a:cubicBezTo>
                  <a:cubicBezTo>
                    <a:pt x="549552" y="1059665"/>
                    <a:pt x="527076" y="1092099"/>
                    <a:pt x="498739" y="1118403"/>
                  </a:cubicBezTo>
                  <a:cubicBezTo>
                    <a:pt x="441908" y="1170672"/>
                    <a:pt x="364107" y="1199165"/>
                    <a:pt x="287796" y="1192525"/>
                  </a:cubicBezTo>
                  <a:cubicBezTo>
                    <a:pt x="249694" y="1189939"/>
                    <a:pt x="212123" y="1179093"/>
                    <a:pt x="178334" y="1160849"/>
                  </a:cubicBezTo>
                  <a:cubicBezTo>
                    <a:pt x="144472" y="1142662"/>
                    <a:pt x="114671" y="1116822"/>
                    <a:pt x="90949" y="1086159"/>
                  </a:cubicBezTo>
                  <a:cubicBezTo>
                    <a:pt x="79032" y="1070862"/>
                    <a:pt x="68542" y="1054418"/>
                    <a:pt x="59576" y="1037149"/>
                  </a:cubicBezTo>
                  <a:cubicBezTo>
                    <a:pt x="50606" y="1019900"/>
                    <a:pt x="43032" y="1001827"/>
                    <a:pt x="37782" y="983043"/>
                  </a:cubicBezTo>
                  <a:cubicBezTo>
                    <a:pt x="26426" y="945733"/>
                    <a:pt x="23809" y="905969"/>
                    <a:pt x="28977" y="868116"/>
                  </a:cubicBezTo>
                  <a:cubicBezTo>
                    <a:pt x="31811" y="849152"/>
                    <a:pt x="36221" y="830447"/>
                    <a:pt x="42104" y="812426"/>
                  </a:cubicBezTo>
                  <a:cubicBezTo>
                    <a:pt x="48237" y="794467"/>
                    <a:pt x="55820" y="777224"/>
                    <a:pt x="64682" y="761033"/>
                  </a:cubicBezTo>
                  <a:cubicBezTo>
                    <a:pt x="73416" y="744774"/>
                    <a:pt x="83756" y="729748"/>
                    <a:pt x="95009" y="715966"/>
                  </a:cubicBezTo>
                  <a:cubicBezTo>
                    <a:pt x="106076" y="702051"/>
                    <a:pt x="118411" y="689465"/>
                    <a:pt x="132014" y="678763"/>
                  </a:cubicBezTo>
                  <a:cubicBezTo>
                    <a:pt x="185191" y="634521"/>
                    <a:pt x="255732" y="615500"/>
                    <a:pt x="327830" y="615235"/>
                  </a:cubicBezTo>
                  <a:cubicBezTo>
                    <a:pt x="402451" y="615345"/>
                    <a:pt x="477068" y="616474"/>
                    <a:pt x="551705" y="616034"/>
                  </a:cubicBezTo>
                  <a:lnTo>
                    <a:pt x="551133" y="535637"/>
                  </a:lnTo>
                  <a:cubicBezTo>
                    <a:pt x="476836" y="537267"/>
                    <a:pt x="402503" y="542381"/>
                    <a:pt x="328216" y="547953"/>
                  </a:cubicBezTo>
                  <a:cubicBezTo>
                    <a:pt x="286791" y="551092"/>
                    <a:pt x="245866" y="561324"/>
                    <a:pt x="207414" y="577741"/>
                  </a:cubicBezTo>
                  <a:cubicBezTo>
                    <a:pt x="188159" y="585818"/>
                    <a:pt x="169878" y="596165"/>
                    <a:pt x="152535" y="607544"/>
                  </a:cubicBezTo>
                  <a:cubicBezTo>
                    <a:pt x="135275" y="619088"/>
                    <a:pt x="118875" y="631870"/>
                    <a:pt x="104279" y="646499"/>
                  </a:cubicBezTo>
                  <a:cubicBezTo>
                    <a:pt x="89408" y="660816"/>
                    <a:pt x="76368" y="676922"/>
                    <a:pt x="64749" y="693842"/>
                  </a:cubicBezTo>
                  <a:cubicBezTo>
                    <a:pt x="53079" y="710747"/>
                    <a:pt x="42883" y="728663"/>
                    <a:pt x="34629" y="747458"/>
                  </a:cubicBezTo>
                  <a:cubicBezTo>
                    <a:pt x="17394" y="784771"/>
                    <a:pt x="6352" y="824715"/>
                    <a:pt x="1885" y="866152"/>
                  </a:cubicBezTo>
                  <a:cubicBezTo>
                    <a:pt x="-2236" y="907975"/>
                    <a:pt x="375" y="950837"/>
                    <a:pt x="9970" y="992430"/>
                  </a:cubicBezTo>
                  <a:cubicBezTo>
                    <a:pt x="19728" y="1034014"/>
                    <a:pt x="37040" y="1074243"/>
                    <a:pt x="61509" y="1110646"/>
                  </a:cubicBezTo>
                  <a:cubicBezTo>
                    <a:pt x="86039" y="1146906"/>
                    <a:pt x="117942" y="1179481"/>
                    <a:pt x="156091" y="1204289"/>
                  </a:cubicBezTo>
                  <a:cubicBezTo>
                    <a:pt x="194177" y="1229060"/>
                    <a:pt x="238338" y="1245712"/>
                    <a:pt x="283514" y="1252466"/>
                  </a:cubicBezTo>
                  <a:cubicBezTo>
                    <a:pt x="289171" y="1253508"/>
                    <a:pt x="294813" y="1254048"/>
                    <a:pt x="300480" y="1254654"/>
                  </a:cubicBezTo>
                  <a:cubicBezTo>
                    <a:pt x="306133" y="1255279"/>
                    <a:pt x="311806" y="1255895"/>
                    <a:pt x="317762" y="1256075"/>
                  </a:cubicBezTo>
                  <a:cubicBezTo>
                    <a:pt x="323666" y="1256397"/>
                    <a:pt x="329571" y="1256624"/>
                    <a:pt x="335465" y="1256492"/>
                  </a:cubicBezTo>
                  <a:cubicBezTo>
                    <a:pt x="341380" y="1256530"/>
                    <a:pt x="347290" y="1256369"/>
                    <a:pt x="353174" y="1255942"/>
                  </a:cubicBezTo>
                  <a:cubicBezTo>
                    <a:pt x="376793" y="1254645"/>
                    <a:pt x="400261" y="1250553"/>
                    <a:pt x="423035" y="1243941"/>
                  </a:cubicBezTo>
                  <a:cubicBezTo>
                    <a:pt x="445824" y="1237405"/>
                    <a:pt x="468015" y="1228539"/>
                    <a:pt x="489233" y="1217560"/>
                  </a:cubicBezTo>
                  <a:cubicBezTo>
                    <a:pt x="510476" y="1206582"/>
                    <a:pt x="530421" y="1193008"/>
                    <a:pt x="549186" y="1177814"/>
                  </a:cubicBezTo>
                  <a:cubicBezTo>
                    <a:pt x="586334" y="1146896"/>
                    <a:pt x="616899" y="1107567"/>
                    <a:pt x="639569" y="1063890"/>
                  </a:cubicBezTo>
                  <a:cubicBezTo>
                    <a:pt x="642493" y="1058472"/>
                    <a:pt x="645150" y="1052911"/>
                    <a:pt x="647655" y="1047275"/>
                  </a:cubicBezTo>
                  <a:cubicBezTo>
                    <a:pt x="650265" y="1041687"/>
                    <a:pt x="652618" y="1035994"/>
                    <a:pt x="654809" y="1030216"/>
                  </a:cubicBezTo>
                  <a:cubicBezTo>
                    <a:pt x="659476" y="1018801"/>
                    <a:pt x="663257" y="1006999"/>
                    <a:pt x="666391" y="995073"/>
                  </a:cubicBezTo>
                  <a:cubicBezTo>
                    <a:pt x="672849" y="971260"/>
                    <a:pt x="676878" y="946930"/>
                    <a:pt x="679574" y="922646"/>
                  </a:cubicBezTo>
                  <a:cubicBezTo>
                    <a:pt x="680517" y="910473"/>
                    <a:pt x="681745" y="898332"/>
                    <a:pt x="682088" y="886180"/>
                  </a:cubicBezTo>
                  <a:lnTo>
                    <a:pt x="682688" y="870376"/>
                  </a:lnTo>
                  <a:lnTo>
                    <a:pt x="683431" y="855657"/>
                  </a:lnTo>
                  <a:lnTo>
                    <a:pt x="686184" y="796807"/>
                  </a:lnTo>
                  <a:lnTo>
                    <a:pt x="688803" y="679107"/>
                  </a:lnTo>
                  <a:lnTo>
                    <a:pt x="693813" y="443697"/>
                  </a:lnTo>
                  <a:lnTo>
                    <a:pt x="696233" y="325998"/>
                  </a:lnTo>
                  <a:lnTo>
                    <a:pt x="696480" y="311285"/>
                  </a:lnTo>
                  <a:lnTo>
                    <a:pt x="696557" y="307765"/>
                  </a:lnTo>
                  <a:lnTo>
                    <a:pt x="696699" y="305304"/>
                  </a:lnTo>
                  <a:lnTo>
                    <a:pt x="696947" y="300377"/>
                  </a:lnTo>
                  <a:cubicBezTo>
                    <a:pt x="697366" y="293829"/>
                    <a:pt x="698119" y="287341"/>
                    <a:pt x="699157" y="280931"/>
                  </a:cubicBezTo>
                  <a:cubicBezTo>
                    <a:pt x="701329" y="268133"/>
                    <a:pt x="704300" y="255536"/>
                    <a:pt x="708749" y="243443"/>
                  </a:cubicBezTo>
                  <a:cubicBezTo>
                    <a:pt x="717578" y="219233"/>
                    <a:pt x="731456" y="197068"/>
                    <a:pt x="748535" y="177919"/>
                  </a:cubicBezTo>
                  <a:cubicBezTo>
                    <a:pt x="765784" y="158886"/>
                    <a:pt x="786863" y="143473"/>
                    <a:pt x="810018" y="133105"/>
                  </a:cubicBezTo>
                  <a:cubicBezTo>
                    <a:pt x="833212" y="122763"/>
                    <a:pt x="858386" y="117518"/>
                    <a:pt x="884104" y="117471"/>
                  </a:cubicBezTo>
                  <a:cubicBezTo>
                    <a:pt x="909793" y="117042"/>
                    <a:pt x="935244" y="122038"/>
                    <a:pt x="958951" y="132243"/>
                  </a:cubicBezTo>
                  <a:cubicBezTo>
                    <a:pt x="982630" y="142420"/>
                    <a:pt x="1004528" y="157791"/>
                    <a:pt x="1022597" y="177183"/>
                  </a:cubicBezTo>
                  <a:cubicBezTo>
                    <a:pt x="1040533" y="196676"/>
                    <a:pt x="1055059" y="219694"/>
                    <a:pt x="1064326" y="245014"/>
                  </a:cubicBezTo>
                  <a:cubicBezTo>
                    <a:pt x="1073651" y="270250"/>
                    <a:pt x="1077842" y="297883"/>
                    <a:pt x="1076490" y="325602"/>
                  </a:cubicBezTo>
                  <a:cubicBezTo>
                    <a:pt x="1075261" y="353171"/>
                    <a:pt x="1068584" y="380492"/>
                    <a:pt x="1056506" y="405633"/>
                  </a:cubicBezTo>
                  <a:cubicBezTo>
                    <a:pt x="1044352" y="430645"/>
                    <a:pt x="1027207" y="453712"/>
                    <a:pt x="1005710" y="471775"/>
                  </a:cubicBezTo>
                  <a:cubicBezTo>
                    <a:pt x="984288" y="489866"/>
                    <a:pt x="959209" y="503468"/>
                    <a:pt x="932348" y="511175"/>
                  </a:cubicBezTo>
                  <a:cubicBezTo>
                    <a:pt x="918946" y="515149"/>
                    <a:pt x="905106" y="517849"/>
                    <a:pt x="890990" y="519008"/>
                  </a:cubicBezTo>
                  <a:lnTo>
                    <a:pt x="885685" y="519341"/>
                  </a:lnTo>
                  <a:cubicBezTo>
                    <a:pt x="883752" y="519441"/>
                    <a:pt x="882542" y="519633"/>
                    <a:pt x="879856" y="519664"/>
                  </a:cubicBezTo>
                  <a:lnTo>
                    <a:pt x="865540" y="520061"/>
                  </a:lnTo>
                  <a:lnTo>
                    <a:pt x="836888" y="520844"/>
                  </a:lnTo>
                  <a:lnTo>
                    <a:pt x="730189" y="523771"/>
                  </a:lnTo>
                  <a:lnTo>
                    <a:pt x="728218" y="616204"/>
                  </a:lnTo>
                  <a:lnTo>
                    <a:pt x="836888" y="617675"/>
                  </a:lnTo>
                  <a:lnTo>
                    <a:pt x="865540" y="618061"/>
                  </a:lnTo>
                  <a:lnTo>
                    <a:pt x="879856" y="618257"/>
                  </a:lnTo>
                  <a:lnTo>
                    <a:pt x="895201" y="618114"/>
                  </a:lnTo>
                  <a:cubicBezTo>
                    <a:pt x="915889" y="617468"/>
                    <a:pt x="936558" y="614615"/>
                    <a:pt x="956761" y="609661"/>
                  </a:cubicBezTo>
                  <a:cubicBezTo>
                    <a:pt x="997261" y="599960"/>
                    <a:pt x="1035828" y="581224"/>
                    <a:pt x="1068946" y="555083"/>
                  </a:cubicBezTo>
                  <a:cubicBezTo>
                    <a:pt x="1102217" y="529085"/>
                    <a:pt x="1129458" y="495275"/>
                    <a:pt x="1149442" y="457649"/>
                  </a:cubicBezTo>
                  <a:cubicBezTo>
                    <a:pt x="1189523" y="382053"/>
                    <a:pt x="1196829" y="289685"/>
                    <a:pt x="1169730" y="208605"/>
                  </a:cubicBezTo>
                </a:path>
              </a:pathLst>
            </a:custGeom>
            <a:solidFill>
              <a:srgbClr val="FD5F07"/>
            </a:solidFill>
            <a:ln w="9525" cap="flat">
              <a:noFill/>
              <a:prstDash val="solid"/>
              <a:miter/>
            </a:ln>
          </p:spPr>
          <p:txBody>
            <a:bodyPr rtlCol="0" anchor="ctr"/>
            <a:lstStyle/>
            <a:p>
              <a:endParaRPr lang="en-US" dirty="0"/>
            </a:p>
          </p:txBody>
        </p:sp>
        <p:sp>
          <p:nvSpPr>
            <p:cNvPr id="9" name="Graphic 6">
              <a:extLst>
                <a:ext uri="{FF2B5EF4-FFF2-40B4-BE49-F238E27FC236}">
                  <a16:creationId xmlns:a16="http://schemas.microsoft.com/office/drawing/2014/main" id="{8B090ACA-C732-164E-B35C-3B0CC7E4CCAD}"/>
                </a:ext>
              </a:extLst>
            </p:cNvPr>
            <p:cNvSpPr/>
            <p:nvPr/>
          </p:nvSpPr>
          <p:spPr>
            <a:xfrm>
              <a:off x="3217078" y="2044492"/>
              <a:ext cx="1857509" cy="311376"/>
            </a:xfrm>
            <a:custGeom>
              <a:avLst/>
              <a:gdLst>
                <a:gd name="connsiteX0" fmla="*/ 810565 w 1857509"/>
                <a:gd name="connsiteY0" fmla="*/ 305863 h 311376"/>
                <a:gd name="connsiteX1" fmla="*/ 872975 w 1857509"/>
                <a:gd name="connsiteY1" fmla="*/ 305863 h 311376"/>
                <a:gd name="connsiteX2" fmla="*/ 872975 w 1857509"/>
                <a:gd name="connsiteY2" fmla="*/ 96590 h 311376"/>
                <a:gd name="connsiteX3" fmla="*/ 810565 w 1857509"/>
                <a:gd name="connsiteY3" fmla="*/ 96590 h 311376"/>
                <a:gd name="connsiteX4" fmla="*/ 810565 w 1857509"/>
                <a:gd name="connsiteY4" fmla="*/ 305863 h 311376"/>
                <a:gd name="connsiteX5" fmla="*/ 841770 w 1857509"/>
                <a:gd name="connsiteY5" fmla="*/ 72019 h 311376"/>
                <a:gd name="connsiteX6" fmla="*/ 805437 w 1857509"/>
                <a:gd name="connsiteY6" fmla="*/ 36005 h 311376"/>
                <a:gd name="connsiteX7" fmla="*/ 841770 w 1857509"/>
                <a:gd name="connsiteY7" fmla="*/ 0 h 311376"/>
                <a:gd name="connsiteX8" fmla="*/ 878102 w 1857509"/>
                <a:gd name="connsiteY8" fmla="*/ 36005 h 311376"/>
                <a:gd name="connsiteX9" fmla="*/ 841770 w 1857509"/>
                <a:gd name="connsiteY9" fmla="*/ 72019 h 311376"/>
                <a:gd name="connsiteX10" fmla="*/ 103016 w 1857509"/>
                <a:gd name="connsiteY10" fmla="*/ 144463 h 311376"/>
                <a:gd name="connsiteX11" fmla="*/ 64121 w 1857509"/>
                <a:gd name="connsiteY11" fmla="*/ 144463 h 311376"/>
                <a:gd name="connsiteX12" fmla="*/ 64121 w 1857509"/>
                <a:gd name="connsiteY12" fmla="*/ 66515 h 311376"/>
                <a:gd name="connsiteX13" fmla="*/ 103016 w 1857509"/>
                <a:gd name="connsiteY13" fmla="*/ 66515 h 311376"/>
                <a:gd name="connsiteX14" fmla="*/ 147049 w 1857509"/>
                <a:gd name="connsiteY14" fmla="*/ 105484 h 311376"/>
                <a:gd name="connsiteX15" fmla="*/ 103016 w 1857509"/>
                <a:gd name="connsiteY15" fmla="*/ 144463 h 311376"/>
                <a:gd name="connsiteX16" fmla="*/ 211595 w 1857509"/>
                <a:gd name="connsiteY16" fmla="*/ 105058 h 311376"/>
                <a:gd name="connsiteX17" fmla="*/ 101740 w 1857509"/>
                <a:gd name="connsiteY17" fmla="*/ 9321 h 311376"/>
                <a:gd name="connsiteX18" fmla="*/ 0 w 1857509"/>
                <a:gd name="connsiteY18" fmla="*/ 9321 h 311376"/>
                <a:gd name="connsiteX19" fmla="*/ 0 w 1857509"/>
                <a:gd name="connsiteY19" fmla="*/ 305863 h 311376"/>
                <a:gd name="connsiteX20" fmla="*/ 64121 w 1857509"/>
                <a:gd name="connsiteY20" fmla="*/ 305863 h 311376"/>
                <a:gd name="connsiteX21" fmla="*/ 64121 w 1857509"/>
                <a:gd name="connsiteY21" fmla="*/ 200805 h 311376"/>
                <a:gd name="connsiteX22" fmla="*/ 101740 w 1857509"/>
                <a:gd name="connsiteY22" fmla="*/ 200805 h 311376"/>
                <a:gd name="connsiteX23" fmla="*/ 211595 w 1857509"/>
                <a:gd name="connsiteY23" fmla="*/ 105058 h 311376"/>
                <a:gd name="connsiteX24" fmla="*/ 327867 w 1857509"/>
                <a:gd name="connsiteY24" fmla="*/ 139377 h 311376"/>
                <a:gd name="connsiteX25" fmla="*/ 374887 w 1857509"/>
                <a:gd name="connsiteY25" fmla="*/ 177929 h 311376"/>
                <a:gd name="connsiteX26" fmla="*/ 280419 w 1857509"/>
                <a:gd name="connsiteY26" fmla="*/ 177929 h 311376"/>
                <a:gd name="connsiteX27" fmla="*/ 327867 w 1857509"/>
                <a:gd name="connsiteY27" fmla="*/ 139377 h 311376"/>
                <a:gd name="connsiteX28" fmla="*/ 330860 w 1857509"/>
                <a:gd name="connsiteY28" fmla="*/ 311376 h 311376"/>
                <a:gd name="connsiteX29" fmla="*/ 428749 w 1857509"/>
                <a:gd name="connsiteY29" fmla="*/ 255877 h 311376"/>
                <a:gd name="connsiteX30" fmla="*/ 376169 w 1857509"/>
                <a:gd name="connsiteY30" fmla="*/ 235114 h 311376"/>
                <a:gd name="connsiteX31" fmla="*/ 330860 w 1857509"/>
                <a:gd name="connsiteY31" fmla="*/ 260538 h 311376"/>
                <a:gd name="connsiteX32" fmla="*/ 279990 w 1857509"/>
                <a:gd name="connsiteY32" fmla="*/ 218168 h 311376"/>
                <a:gd name="connsiteX33" fmla="*/ 435158 w 1857509"/>
                <a:gd name="connsiteY33" fmla="*/ 218168 h 311376"/>
                <a:gd name="connsiteX34" fmla="*/ 436016 w 1857509"/>
                <a:gd name="connsiteY34" fmla="*/ 202927 h 311376"/>
                <a:gd name="connsiteX35" fmla="*/ 328296 w 1857509"/>
                <a:gd name="connsiteY35" fmla="*/ 91077 h 311376"/>
                <a:gd name="connsiteX36" fmla="*/ 218866 w 1857509"/>
                <a:gd name="connsiteY36" fmla="*/ 201231 h 311376"/>
                <a:gd name="connsiteX37" fmla="*/ 330860 w 1857509"/>
                <a:gd name="connsiteY37" fmla="*/ 311376 h 311376"/>
                <a:gd name="connsiteX38" fmla="*/ 599267 w 1857509"/>
                <a:gd name="connsiteY38" fmla="*/ 156749 h 311376"/>
                <a:gd name="connsiteX39" fmla="*/ 583447 w 1857509"/>
                <a:gd name="connsiteY39" fmla="*/ 154210 h 311376"/>
                <a:gd name="connsiteX40" fmla="*/ 528309 w 1857509"/>
                <a:gd name="connsiteY40" fmla="*/ 220716 h 311376"/>
                <a:gd name="connsiteX41" fmla="*/ 528309 w 1857509"/>
                <a:gd name="connsiteY41" fmla="*/ 305863 h 311376"/>
                <a:gd name="connsiteX42" fmla="*/ 466326 w 1857509"/>
                <a:gd name="connsiteY42" fmla="*/ 305863 h 311376"/>
                <a:gd name="connsiteX43" fmla="*/ 466326 w 1857509"/>
                <a:gd name="connsiteY43" fmla="*/ 96590 h 311376"/>
                <a:gd name="connsiteX44" fmla="*/ 527879 w 1857509"/>
                <a:gd name="connsiteY44" fmla="*/ 96590 h 311376"/>
                <a:gd name="connsiteX45" fmla="*/ 527879 w 1857509"/>
                <a:gd name="connsiteY45" fmla="*/ 130908 h 311376"/>
                <a:gd name="connsiteX46" fmla="*/ 588579 w 1857509"/>
                <a:gd name="connsiteY46" fmla="*/ 91929 h 311376"/>
                <a:gd name="connsiteX47" fmla="*/ 599267 w 1857509"/>
                <a:gd name="connsiteY47" fmla="*/ 93199 h 311376"/>
                <a:gd name="connsiteX48" fmla="*/ 599267 w 1857509"/>
                <a:gd name="connsiteY48" fmla="*/ 156749 h 311376"/>
                <a:gd name="connsiteX49" fmla="*/ 693952 w 1857509"/>
                <a:gd name="connsiteY49" fmla="*/ 171147 h 311376"/>
                <a:gd name="connsiteX50" fmla="*/ 676427 w 1857509"/>
                <a:gd name="connsiteY50" fmla="*/ 155053 h 311376"/>
                <a:gd name="connsiteX51" fmla="*/ 696087 w 1857509"/>
                <a:gd name="connsiteY51" fmla="*/ 140646 h 311376"/>
                <a:gd name="connsiteX52" fmla="*/ 729432 w 1857509"/>
                <a:gd name="connsiteY52" fmla="*/ 166487 h 311376"/>
                <a:gd name="connsiteX53" fmla="*/ 780296 w 1857509"/>
                <a:gd name="connsiteY53" fmla="*/ 139803 h 311376"/>
                <a:gd name="connsiteX54" fmla="*/ 696516 w 1857509"/>
                <a:gd name="connsiteY54" fmla="*/ 91086 h 311376"/>
                <a:gd name="connsiteX55" fmla="*/ 614869 w 1857509"/>
                <a:gd name="connsiteY55" fmla="*/ 158861 h 311376"/>
                <a:gd name="connsiteX56" fmla="*/ 675145 w 1857509"/>
                <a:gd name="connsiteY56" fmla="*/ 223254 h 311376"/>
                <a:gd name="connsiteX57" fmla="*/ 699937 w 1857509"/>
                <a:gd name="connsiteY57" fmla="*/ 229184 h 311376"/>
                <a:gd name="connsiteX58" fmla="*/ 719173 w 1857509"/>
                <a:gd name="connsiteY58" fmla="*/ 244861 h 311376"/>
                <a:gd name="connsiteX59" fmla="*/ 696945 w 1857509"/>
                <a:gd name="connsiteY59" fmla="*/ 260955 h 311376"/>
                <a:gd name="connsiteX60" fmla="*/ 657615 w 1857509"/>
                <a:gd name="connsiteY60" fmla="*/ 232575 h 311376"/>
                <a:gd name="connsiteX61" fmla="*/ 607174 w 1857509"/>
                <a:gd name="connsiteY61" fmla="*/ 260112 h 311376"/>
                <a:gd name="connsiteX62" fmla="*/ 696516 w 1857509"/>
                <a:gd name="connsiteY62" fmla="*/ 311376 h 311376"/>
                <a:gd name="connsiteX63" fmla="*/ 781578 w 1857509"/>
                <a:gd name="connsiteY63" fmla="*/ 239784 h 311376"/>
                <a:gd name="connsiteX64" fmla="*/ 720454 w 1857509"/>
                <a:gd name="connsiteY64" fmla="*/ 177929 h 311376"/>
                <a:gd name="connsiteX65" fmla="*/ 693952 w 1857509"/>
                <a:gd name="connsiteY65" fmla="*/ 171147 h 311376"/>
                <a:gd name="connsiteX66" fmla="*/ 984924 w 1857509"/>
                <a:gd name="connsiteY66" fmla="*/ 171147 h 311376"/>
                <a:gd name="connsiteX67" fmla="*/ 967398 w 1857509"/>
                <a:gd name="connsiteY67" fmla="*/ 155053 h 311376"/>
                <a:gd name="connsiteX68" fmla="*/ 987057 w 1857509"/>
                <a:gd name="connsiteY68" fmla="*/ 140646 h 311376"/>
                <a:gd name="connsiteX69" fmla="*/ 1020404 w 1857509"/>
                <a:gd name="connsiteY69" fmla="*/ 166487 h 311376"/>
                <a:gd name="connsiteX70" fmla="*/ 1071268 w 1857509"/>
                <a:gd name="connsiteY70" fmla="*/ 139803 h 311376"/>
                <a:gd name="connsiteX71" fmla="*/ 987486 w 1857509"/>
                <a:gd name="connsiteY71" fmla="*/ 91086 h 311376"/>
                <a:gd name="connsiteX72" fmla="*/ 905840 w 1857509"/>
                <a:gd name="connsiteY72" fmla="*/ 158861 h 311376"/>
                <a:gd name="connsiteX73" fmla="*/ 966112 w 1857509"/>
                <a:gd name="connsiteY73" fmla="*/ 223254 h 311376"/>
                <a:gd name="connsiteX74" fmla="*/ 990905 w 1857509"/>
                <a:gd name="connsiteY74" fmla="*/ 229184 h 311376"/>
                <a:gd name="connsiteX75" fmla="*/ 1010146 w 1857509"/>
                <a:gd name="connsiteY75" fmla="*/ 244861 h 311376"/>
                <a:gd name="connsiteX76" fmla="*/ 987915 w 1857509"/>
                <a:gd name="connsiteY76" fmla="*/ 260955 h 311376"/>
                <a:gd name="connsiteX77" fmla="*/ 948591 w 1857509"/>
                <a:gd name="connsiteY77" fmla="*/ 232575 h 311376"/>
                <a:gd name="connsiteX78" fmla="*/ 898149 w 1857509"/>
                <a:gd name="connsiteY78" fmla="*/ 260112 h 311376"/>
                <a:gd name="connsiteX79" fmla="*/ 987486 w 1857509"/>
                <a:gd name="connsiteY79" fmla="*/ 311376 h 311376"/>
                <a:gd name="connsiteX80" fmla="*/ 1072554 w 1857509"/>
                <a:gd name="connsiteY80" fmla="*/ 239784 h 311376"/>
                <a:gd name="connsiteX81" fmla="*/ 1011422 w 1857509"/>
                <a:gd name="connsiteY81" fmla="*/ 177929 h 311376"/>
                <a:gd name="connsiteX82" fmla="*/ 984924 w 1857509"/>
                <a:gd name="connsiteY82" fmla="*/ 171147 h 311376"/>
                <a:gd name="connsiteX83" fmla="*/ 1176300 w 1857509"/>
                <a:gd name="connsiteY83" fmla="*/ 35162 h 311376"/>
                <a:gd name="connsiteX84" fmla="*/ 1176300 w 1857509"/>
                <a:gd name="connsiteY84" fmla="*/ 96590 h 311376"/>
                <a:gd name="connsiteX85" fmla="*/ 1229735 w 1857509"/>
                <a:gd name="connsiteY85" fmla="*/ 96590 h 311376"/>
                <a:gd name="connsiteX86" fmla="*/ 1229735 w 1857509"/>
                <a:gd name="connsiteY86" fmla="*/ 147428 h 311376"/>
                <a:gd name="connsiteX87" fmla="*/ 1176300 w 1857509"/>
                <a:gd name="connsiteY87" fmla="*/ 147428 h 311376"/>
                <a:gd name="connsiteX88" fmla="*/ 1176300 w 1857509"/>
                <a:gd name="connsiteY88" fmla="*/ 224107 h 311376"/>
                <a:gd name="connsiteX89" fmla="*/ 1206656 w 1857509"/>
                <a:gd name="connsiteY89" fmla="*/ 255451 h 311376"/>
                <a:gd name="connsiteX90" fmla="*/ 1229735 w 1857509"/>
                <a:gd name="connsiteY90" fmla="*/ 249095 h 311376"/>
                <a:gd name="connsiteX91" fmla="*/ 1229735 w 1857509"/>
                <a:gd name="connsiteY91" fmla="*/ 302482 h 311376"/>
                <a:gd name="connsiteX92" fmla="*/ 1186139 w 1857509"/>
                <a:gd name="connsiteY92" fmla="*/ 310950 h 311376"/>
                <a:gd name="connsiteX93" fmla="*/ 1114321 w 1857509"/>
                <a:gd name="connsiteY93" fmla="*/ 237236 h 311376"/>
                <a:gd name="connsiteX94" fmla="*/ 1114321 w 1857509"/>
                <a:gd name="connsiteY94" fmla="*/ 147428 h 311376"/>
                <a:gd name="connsiteX95" fmla="*/ 1084393 w 1857509"/>
                <a:gd name="connsiteY95" fmla="*/ 147428 h 311376"/>
                <a:gd name="connsiteX96" fmla="*/ 1084393 w 1857509"/>
                <a:gd name="connsiteY96" fmla="*/ 96590 h 311376"/>
                <a:gd name="connsiteX97" fmla="*/ 1114321 w 1857509"/>
                <a:gd name="connsiteY97" fmla="*/ 96590 h 311376"/>
                <a:gd name="connsiteX98" fmla="*/ 1114321 w 1857509"/>
                <a:gd name="connsiteY98" fmla="*/ 35162 h 311376"/>
                <a:gd name="connsiteX99" fmla="*/ 1176300 w 1857509"/>
                <a:gd name="connsiteY99" fmla="*/ 35162 h 311376"/>
                <a:gd name="connsiteX100" fmla="*/ 1352551 w 1857509"/>
                <a:gd name="connsiteY100" fmla="*/ 139377 h 311376"/>
                <a:gd name="connsiteX101" fmla="*/ 1399566 w 1857509"/>
                <a:gd name="connsiteY101" fmla="*/ 177929 h 311376"/>
                <a:gd name="connsiteX102" fmla="*/ 1305097 w 1857509"/>
                <a:gd name="connsiteY102" fmla="*/ 177929 h 311376"/>
                <a:gd name="connsiteX103" fmla="*/ 1352551 w 1857509"/>
                <a:gd name="connsiteY103" fmla="*/ 139377 h 311376"/>
                <a:gd name="connsiteX104" fmla="*/ 1355541 w 1857509"/>
                <a:gd name="connsiteY104" fmla="*/ 311376 h 311376"/>
                <a:gd name="connsiteX105" fmla="*/ 1453430 w 1857509"/>
                <a:gd name="connsiteY105" fmla="*/ 255877 h 311376"/>
                <a:gd name="connsiteX106" fmla="*/ 1400852 w 1857509"/>
                <a:gd name="connsiteY106" fmla="*/ 235114 h 311376"/>
                <a:gd name="connsiteX107" fmla="*/ 1355541 w 1857509"/>
                <a:gd name="connsiteY107" fmla="*/ 260538 h 311376"/>
                <a:gd name="connsiteX108" fmla="*/ 1304669 w 1857509"/>
                <a:gd name="connsiteY108" fmla="*/ 218168 h 311376"/>
                <a:gd name="connsiteX109" fmla="*/ 1459840 w 1857509"/>
                <a:gd name="connsiteY109" fmla="*/ 218168 h 311376"/>
                <a:gd name="connsiteX110" fmla="*/ 1460688 w 1857509"/>
                <a:gd name="connsiteY110" fmla="*/ 202927 h 311376"/>
                <a:gd name="connsiteX111" fmla="*/ 1352979 w 1857509"/>
                <a:gd name="connsiteY111" fmla="*/ 91077 h 311376"/>
                <a:gd name="connsiteX112" fmla="*/ 1243547 w 1857509"/>
                <a:gd name="connsiteY112" fmla="*/ 201231 h 311376"/>
                <a:gd name="connsiteX113" fmla="*/ 1355541 w 1857509"/>
                <a:gd name="connsiteY113" fmla="*/ 311376 h 311376"/>
                <a:gd name="connsiteX114" fmla="*/ 1553414 w 1857509"/>
                <a:gd name="connsiteY114" fmla="*/ 305863 h 311376"/>
                <a:gd name="connsiteX115" fmla="*/ 1491006 w 1857509"/>
                <a:gd name="connsiteY115" fmla="*/ 305863 h 311376"/>
                <a:gd name="connsiteX116" fmla="*/ 1491006 w 1857509"/>
                <a:gd name="connsiteY116" fmla="*/ 96590 h 311376"/>
                <a:gd name="connsiteX117" fmla="*/ 1553414 w 1857509"/>
                <a:gd name="connsiteY117" fmla="*/ 96590 h 311376"/>
                <a:gd name="connsiteX118" fmla="*/ 1553414 w 1857509"/>
                <a:gd name="connsiteY118" fmla="*/ 123283 h 311376"/>
                <a:gd name="connsiteX119" fmla="*/ 1615822 w 1857509"/>
                <a:gd name="connsiteY119" fmla="*/ 91086 h 311376"/>
                <a:gd name="connsiteX120" fmla="*/ 1693631 w 1857509"/>
                <a:gd name="connsiteY120" fmla="*/ 176660 h 311376"/>
                <a:gd name="connsiteX121" fmla="*/ 1693631 w 1857509"/>
                <a:gd name="connsiteY121" fmla="*/ 305863 h 311376"/>
                <a:gd name="connsiteX122" fmla="*/ 1631214 w 1857509"/>
                <a:gd name="connsiteY122" fmla="*/ 305863 h 311376"/>
                <a:gd name="connsiteX123" fmla="*/ 1631214 w 1857509"/>
                <a:gd name="connsiteY123" fmla="*/ 191058 h 311376"/>
                <a:gd name="connsiteX124" fmla="*/ 1593171 w 1857509"/>
                <a:gd name="connsiteY124" fmla="*/ 147845 h 311376"/>
                <a:gd name="connsiteX125" fmla="*/ 1553414 w 1857509"/>
                <a:gd name="connsiteY125" fmla="*/ 194875 h 311376"/>
                <a:gd name="connsiteX126" fmla="*/ 1553414 w 1857509"/>
                <a:gd name="connsiteY126" fmla="*/ 305863 h 311376"/>
                <a:gd name="connsiteX127" fmla="*/ 1804083 w 1857509"/>
                <a:gd name="connsiteY127" fmla="*/ 96590 h 311376"/>
                <a:gd name="connsiteX128" fmla="*/ 1804083 w 1857509"/>
                <a:gd name="connsiteY128" fmla="*/ 35162 h 311376"/>
                <a:gd name="connsiteX129" fmla="*/ 1742095 w 1857509"/>
                <a:gd name="connsiteY129" fmla="*/ 35162 h 311376"/>
                <a:gd name="connsiteX130" fmla="*/ 1742095 w 1857509"/>
                <a:gd name="connsiteY130" fmla="*/ 96590 h 311376"/>
                <a:gd name="connsiteX131" fmla="*/ 1712177 w 1857509"/>
                <a:gd name="connsiteY131" fmla="*/ 96590 h 311376"/>
                <a:gd name="connsiteX132" fmla="*/ 1712177 w 1857509"/>
                <a:gd name="connsiteY132" fmla="*/ 147428 h 311376"/>
                <a:gd name="connsiteX133" fmla="*/ 1742095 w 1857509"/>
                <a:gd name="connsiteY133" fmla="*/ 147428 h 311376"/>
                <a:gd name="connsiteX134" fmla="*/ 1742095 w 1857509"/>
                <a:gd name="connsiteY134" fmla="*/ 237236 h 311376"/>
                <a:gd name="connsiteX135" fmla="*/ 1813913 w 1857509"/>
                <a:gd name="connsiteY135" fmla="*/ 310950 h 311376"/>
                <a:gd name="connsiteX136" fmla="*/ 1857509 w 1857509"/>
                <a:gd name="connsiteY136" fmla="*/ 302482 h 311376"/>
                <a:gd name="connsiteX137" fmla="*/ 1857509 w 1857509"/>
                <a:gd name="connsiteY137" fmla="*/ 249095 h 311376"/>
                <a:gd name="connsiteX138" fmla="*/ 1834439 w 1857509"/>
                <a:gd name="connsiteY138" fmla="*/ 255451 h 311376"/>
                <a:gd name="connsiteX139" fmla="*/ 1804083 w 1857509"/>
                <a:gd name="connsiteY139" fmla="*/ 224107 h 311376"/>
                <a:gd name="connsiteX140" fmla="*/ 1804083 w 1857509"/>
                <a:gd name="connsiteY140" fmla="*/ 147428 h 311376"/>
                <a:gd name="connsiteX141" fmla="*/ 1857509 w 1857509"/>
                <a:gd name="connsiteY141" fmla="*/ 147428 h 311376"/>
                <a:gd name="connsiteX142" fmla="*/ 1857509 w 1857509"/>
                <a:gd name="connsiteY142" fmla="*/ 96590 h 311376"/>
                <a:gd name="connsiteX143" fmla="*/ 1804083 w 1857509"/>
                <a:gd name="connsiteY143" fmla="*/ 96590 h 31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857509" h="311376">
                  <a:moveTo>
                    <a:pt x="810565" y="305863"/>
                  </a:moveTo>
                  <a:lnTo>
                    <a:pt x="872975" y="305863"/>
                  </a:lnTo>
                  <a:lnTo>
                    <a:pt x="872975" y="96590"/>
                  </a:lnTo>
                  <a:lnTo>
                    <a:pt x="810565" y="96590"/>
                  </a:lnTo>
                  <a:lnTo>
                    <a:pt x="810565" y="305863"/>
                  </a:lnTo>
                  <a:close/>
                  <a:moveTo>
                    <a:pt x="841770" y="72019"/>
                  </a:moveTo>
                  <a:cubicBezTo>
                    <a:pt x="821677" y="72019"/>
                    <a:pt x="805437" y="55499"/>
                    <a:pt x="805437" y="36005"/>
                  </a:cubicBezTo>
                  <a:cubicBezTo>
                    <a:pt x="805437" y="16520"/>
                    <a:pt x="821677" y="0"/>
                    <a:pt x="841770" y="0"/>
                  </a:cubicBezTo>
                  <a:cubicBezTo>
                    <a:pt x="861859" y="0"/>
                    <a:pt x="878102" y="16520"/>
                    <a:pt x="878102" y="36005"/>
                  </a:cubicBezTo>
                  <a:cubicBezTo>
                    <a:pt x="878102" y="55499"/>
                    <a:pt x="861859" y="72019"/>
                    <a:pt x="841770" y="72019"/>
                  </a:cubicBezTo>
                  <a:close/>
                  <a:moveTo>
                    <a:pt x="103016" y="144463"/>
                  </a:moveTo>
                  <a:lnTo>
                    <a:pt x="64121" y="144463"/>
                  </a:lnTo>
                  <a:lnTo>
                    <a:pt x="64121" y="66515"/>
                  </a:lnTo>
                  <a:lnTo>
                    <a:pt x="103016" y="66515"/>
                  </a:lnTo>
                  <a:cubicBezTo>
                    <a:pt x="128666" y="66515"/>
                    <a:pt x="147049" y="80923"/>
                    <a:pt x="147049" y="105484"/>
                  </a:cubicBezTo>
                  <a:cubicBezTo>
                    <a:pt x="147049" y="130056"/>
                    <a:pt x="128666" y="144463"/>
                    <a:pt x="103016" y="144463"/>
                  </a:cubicBezTo>
                  <a:close/>
                  <a:moveTo>
                    <a:pt x="211595" y="105058"/>
                  </a:moveTo>
                  <a:cubicBezTo>
                    <a:pt x="211595" y="44056"/>
                    <a:pt x="166714" y="9321"/>
                    <a:pt x="101740" y="9321"/>
                  </a:cubicBezTo>
                  <a:lnTo>
                    <a:pt x="0" y="9321"/>
                  </a:lnTo>
                  <a:lnTo>
                    <a:pt x="0" y="305863"/>
                  </a:lnTo>
                  <a:lnTo>
                    <a:pt x="64121" y="305863"/>
                  </a:lnTo>
                  <a:lnTo>
                    <a:pt x="64121" y="200805"/>
                  </a:lnTo>
                  <a:lnTo>
                    <a:pt x="101740" y="200805"/>
                  </a:lnTo>
                  <a:cubicBezTo>
                    <a:pt x="166714" y="200805"/>
                    <a:pt x="211595" y="165644"/>
                    <a:pt x="211595" y="105058"/>
                  </a:cubicBezTo>
                  <a:close/>
                  <a:moveTo>
                    <a:pt x="327867" y="139377"/>
                  </a:moveTo>
                  <a:cubicBezTo>
                    <a:pt x="353088" y="139377"/>
                    <a:pt x="372324" y="155480"/>
                    <a:pt x="374887" y="177929"/>
                  </a:cubicBezTo>
                  <a:lnTo>
                    <a:pt x="280419" y="177929"/>
                  </a:lnTo>
                  <a:cubicBezTo>
                    <a:pt x="282982" y="158018"/>
                    <a:pt x="303076" y="139377"/>
                    <a:pt x="327867" y="139377"/>
                  </a:cubicBezTo>
                  <a:close/>
                  <a:moveTo>
                    <a:pt x="330860" y="311376"/>
                  </a:moveTo>
                  <a:cubicBezTo>
                    <a:pt x="377027" y="311376"/>
                    <a:pt x="411224" y="290186"/>
                    <a:pt x="428749" y="255877"/>
                  </a:cubicBezTo>
                  <a:lnTo>
                    <a:pt x="376169" y="235114"/>
                  </a:lnTo>
                  <a:cubicBezTo>
                    <a:pt x="366339" y="250791"/>
                    <a:pt x="353941" y="260538"/>
                    <a:pt x="330860" y="260538"/>
                  </a:cubicBezTo>
                  <a:cubicBezTo>
                    <a:pt x="304782" y="260538"/>
                    <a:pt x="282129" y="242739"/>
                    <a:pt x="279990" y="218168"/>
                  </a:cubicBezTo>
                  <a:lnTo>
                    <a:pt x="435158" y="218168"/>
                  </a:lnTo>
                  <a:cubicBezTo>
                    <a:pt x="435587" y="215629"/>
                    <a:pt x="436016" y="210126"/>
                    <a:pt x="436016" y="202927"/>
                  </a:cubicBezTo>
                  <a:cubicBezTo>
                    <a:pt x="436016" y="137264"/>
                    <a:pt x="391989" y="91077"/>
                    <a:pt x="328296" y="91077"/>
                  </a:cubicBezTo>
                  <a:cubicBezTo>
                    <a:pt x="265886" y="91077"/>
                    <a:pt x="218866" y="138107"/>
                    <a:pt x="218866" y="201231"/>
                  </a:cubicBezTo>
                  <a:cubicBezTo>
                    <a:pt x="218866" y="266041"/>
                    <a:pt x="265028" y="311376"/>
                    <a:pt x="330860" y="311376"/>
                  </a:cubicBezTo>
                  <a:close/>
                  <a:moveTo>
                    <a:pt x="599267" y="156749"/>
                  </a:moveTo>
                  <a:cubicBezTo>
                    <a:pt x="595846" y="155053"/>
                    <a:pt x="589861" y="154210"/>
                    <a:pt x="583447" y="154210"/>
                  </a:cubicBezTo>
                  <a:cubicBezTo>
                    <a:pt x="548825" y="154210"/>
                    <a:pt x="528309" y="179625"/>
                    <a:pt x="528309" y="220716"/>
                  </a:cubicBezTo>
                  <a:lnTo>
                    <a:pt x="528309" y="305863"/>
                  </a:lnTo>
                  <a:lnTo>
                    <a:pt x="466326" y="305863"/>
                  </a:lnTo>
                  <a:lnTo>
                    <a:pt x="466326" y="96590"/>
                  </a:lnTo>
                  <a:lnTo>
                    <a:pt x="527879" y="96590"/>
                  </a:lnTo>
                  <a:lnTo>
                    <a:pt x="527879" y="130908"/>
                  </a:lnTo>
                  <a:cubicBezTo>
                    <a:pt x="538996" y="106754"/>
                    <a:pt x="561219" y="91929"/>
                    <a:pt x="588579" y="91929"/>
                  </a:cubicBezTo>
                  <a:cubicBezTo>
                    <a:pt x="593282" y="91929"/>
                    <a:pt x="597985" y="92773"/>
                    <a:pt x="599267" y="93199"/>
                  </a:cubicBezTo>
                  <a:lnTo>
                    <a:pt x="599267" y="156749"/>
                  </a:lnTo>
                  <a:close/>
                  <a:moveTo>
                    <a:pt x="693952" y="171147"/>
                  </a:moveTo>
                  <a:cubicBezTo>
                    <a:pt x="682412" y="168182"/>
                    <a:pt x="676427" y="162679"/>
                    <a:pt x="676427" y="155053"/>
                  </a:cubicBezTo>
                  <a:cubicBezTo>
                    <a:pt x="676427" y="146576"/>
                    <a:pt x="684546" y="140646"/>
                    <a:pt x="696087" y="140646"/>
                  </a:cubicBezTo>
                  <a:cubicBezTo>
                    <a:pt x="708909" y="140646"/>
                    <a:pt x="723018" y="150810"/>
                    <a:pt x="729432" y="166487"/>
                  </a:cubicBezTo>
                  <a:lnTo>
                    <a:pt x="780296" y="139803"/>
                  </a:lnTo>
                  <a:cubicBezTo>
                    <a:pt x="767046" y="110562"/>
                    <a:pt x="732853" y="91086"/>
                    <a:pt x="696516" y="91086"/>
                  </a:cubicBezTo>
                  <a:cubicBezTo>
                    <a:pt x="648214" y="91086"/>
                    <a:pt x="614869" y="119039"/>
                    <a:pt x="614869" y="158861"/>
                  </a:cubicBezTo>
                  <a:cubicBezTo>
                    <a:pt x="614869" y="191910"/>
                    <a:pt x="635392" y="213934"/>
                    <a:pt x="675145" y="223254"/>
                  </a:cubicBezTo>
                  <a:lnTo>
                    <a:pt x="699937" y="229184"/>
                  </a:lnTo>
                  <a:cubicBezTo>
                    <a:pt x="712759" y="232149"/>
                    <a:pt x="719173" y="237662"/>
                    <a:pt x="719173" y="244861"/>
                  </a:cubicBezTo>
                  <a:cubicBezTo>
                    <a:pt x="719173" y="255025"/>
                    <a:pt x="710196" y="260955"/>
                    <a:pt x="696945" y="260955"/>
                  </a:cubicBezTo>
                  <a:cubicBezTo>
                    <a:pt x="681130" y="260955"/>
                    <a:pt x="665310" y="249948"/>
                    <a:pt x="657615" y="232575"/>
                  </a:cubicBezTo>
                  <a:lnTo>
                    <a:pt x="607174" y="260112"/>
                  </a:lnTo>
                  <a:cubicBezTo>
                    <a:pt x="621283" y="292308"/>
                    <a:pt x="654622" y="311376"/>
                    <a:pt x="696516" y="311376"/>
                  </a:cubicBezTo>
                  <a:cubicBezTo>
                    <a:pt x="745675" y="311376"/>
                    <a:pt x="781578" y="281718"/>
                    <a:pt x="781578" y="239784"/>
                  </a:cubicBezTo>
                  <a:cubicBezTo>
                    <a:pt x="781578" y="210126"/>
                    <a:pt x="760208" y="188093"/>
                    <a:pt x="720454" y="177929"/>
                  </a:cubicBezTo>
                  <a:lnTo>
                    <a:pt x="693952" y="171147"/>
                  </a:lnTo>
                  <a:close/>
                  <a:moveTo>
                    <a:pt x="984924" y="171147"/>
                  </a:moveTo>
                  <a:cubicBezTo>
                    <a:pt x="973379" y="168182"/>
                    <a:pt x="967398" y="162679"/>
                    <a:pt x="967398" y="155053"/>
                  </a:cubicBezTo>
                  <a:cubicBezTo>
                    <a:pt x="967398" y="146576"/>
                    <a:pt x="975513" y="140646"/>
                    <a:pt x="987057" y="140646"/>
                  </a:cubicBezTo>
                  <a:cubicBezTo>
                    <a:pt x="999887" y="140646"/>
                    <a:pt x="1013994" y="150810"/>
                    <a:pt x="1020404" y="166487"/>
                  </a:cubicBezTo>
                  <a:lnTo>
                    <a:pt x="1071268" y="139803"/>
                  </a:lnTo>
                  <a:cubicBezTo>
                    <a:pt x="1058019" y="110562"/>
                    <a:pt x="1023824" y="91086"/>
                    <a:pt x="987486" y="91086"/>
                  </a:cubicBezTo>
                  <a:cubicBezTo>
                    <a:pt x="939185" y="91086"/>
                    <a:pt x="905840" y="119039"/>
                    <a:pt x="905840" y="158861"/>
                  </a:cubicBezTo>
                  <a:cubicBezTo>
                    <a:pt x="905840" y="191910"/>
                    <a:pt x="926362" y="213934"/>
                    <a:pt x="966112" y="223254"/>
                  </a:cubicBezTo>
                  <a:lnTo>
                    <a:pt x="990905" y="229184"/>
                  </a:lnTo>
                  <a:cubicBezTo>
                    <a:pt x="1003726" y="232149"/>
                    <a:pt x="1010146" y="237662"/>
                    <a:pt x="1010146" y="244861"/>
                  </a:cubicBezTo>
                  <a:cubicBezTo>
                    <a:pt x="1010146" y="255025"/>
                    <a:pt x="1001164" y="260955"/>
                    <a:pt x="987915" y="260955"/>
                  </a:cubicBezTo>
                  <a:cubicBezTo>
                    <a:pt x="972103" y="260955"/>
                    <a:pt x="956282" y="249948"/>
                    <a:pt x="948591" y="232575"/>
                  </a:cubicBezTo>
                  <a:lnTo>
                    <a:pt x="898149" y="260112"/>
                  </a:lnTo>
                  <a:cubicBezTo>
                    <a:pt x="912254" y="292308"/>
                    <a:pt x="945598" y="311376"/>
                    <a:pt x="987486" y="311376"/>
                  </a:cubicBezTo>
                  <a:cubicBezTo>
                    <a:pt x="1036644" y="311376"/>
                    <a:pt x="1072554" y="281718"/>
                    <a:pt x="1072554" y="239784"/>
                  </a:cubicBezTo>
                  <a:cubicBezTo>
                    <a:pt x="1072554" y="210126"/>
                    <a:pt x="1051180" y="188093"/>
                    <a:pt x="1011422" y="177929"/>
                  </a:cubicBezTo>
                  <a:lnTo>
                    <a:pt x="984924" y="171147"/>
                  </a:lnTo>
                  <a:close/>
                  <a:moveTo>
                    <a:pt x="1176300" y="35162"/>
                  </a:moveTo>
                  <a:lnTo>
                    <a:pt x="1176300" y="96590"/>
                  </a:lnTo>
                  <a:lnTo>
                    <a:pt x="1229735" y="96590"/>
                  </a:lnTo>
                  <a:lnTo>
                    <a:pt x="1229735" y="147428"/>
                  </a:lnTo>
                  <a:lnTo>
                    <a:pt x="1176300" y="147428"/>
                  </a:lnTo>
                  <a:lnTo>
                    <a:pt x="1176300" y="224107"/>
                  </a:lnTo>
                  <a:cubicBezTo>
                    <a:pt x="1176300" y="246557"/>
                    <a:pt x="1186139" y="255451"/>
                    <a:pt x="1206656" y="255451"/>
                  </a:cubicBezTo>
                  <a:cubicBezTo>
                    <a:pt x="1214352" y="255451"/>
                    <a:pt x="1222896" y="253339"/>
                    <a:pt x="1229735" y="249095"/>
                  </a:cubicBezTo>
                  <a:lnTo>
                    <a:pt x="1229735" y="302482"/>
                  </a:lnTo>
                  <a:cubicBezTo>
                    <a:pt x="1220334" y="307132"/>
                    <a:pt x="1206228" y="310950"/>
                    <a:pt x="1186139" y="310950"/>
                  </a:cubicBezTo>
                  <a:cubicBezTo>
                    <a:pt x="1141677" y="310950"/>
                    <a:pt x="1114321" y="283840"/>
                    <a:pt x="1114321" y="237236"/>
                  </a:cubicBezTo>
                  <a:lnTo>
                    <a:pt x="1114321" y="147428"/>
                  </a:lnTo>
                  <a:lnTo>
                    <a:pt x="1084393" y="147428"/>
                  </a:lnTo>
                  <a:lnTo>
                    <a:pt x="1084393" y="96590"/>
                  </a:lnTo>
                  <a:lnTo>
                    <a:pt x="1114321" y="96590"/>
                  </a:lnTo>
                  <a:lnTo>
                    <a:pt x="1114321" y="35162"/>
                  </a:lnTo>
                  <a:lnTo>
                    <a:pt x="1176300" y="35162"/>
                  </a:lnTo>
                  <a:close/>
                  <a:moveTo>
                    <a:pt x="1352551" y="139377"/>
                  </a:moveTo>
                  <a:cubicBezTo>
                    <a:pt x="1377763" y="139377"/>
                    <a:pt x="1397004" y="155480"/>
                    <a:pt x="1399566" y="177929"/>
                  </a:cubicBezTo>
                  <a:lnTo>
                    <a:pt x="1305097" y="177929"/>
                  </a:lnTo>
                  <a:cubicBezTo>
                    <a:pt x="1307659" y="158018"/>
                    <a:pt x="1327757" y="139377"/>
                    <a:pt x="1352551" y="139377"/>
                  </a:cubicBezTo>
                  <a:close/>
                  <a:moveTo>
                    <a:pt x="1355541" y="311376"/>
                  </a:moveTo>
                  <a:cubicBezTo>
                    <a:pt x="1401709" y="311376"/>
                    <a:pt x="1435904" y="290186"/>
                    <a:pt x="1453430" y="255877"/>
                  </a:cubicBezTo>
                  <a:lnTo>
                    <a:pt x="1400852" y="235114"/>
                  </a:lnTo>
                  <a:cubicBezTo>
                    <a:pt x="1391022" y="250791"/>
                    <a:pt x="1378621" y="260538"/>
                    <a:pt x="1355541" y="260538"/>
                  </a:cubicBezTo>
                  <a:cubicBezTo>
                    <a:pt x="1329462" y="260538"/>
                    <a:pt x="1306812" y="242739"/>
                    <a:pt x="1304669" y="218168"/>
                  </a:cubicBezTo>
                  <a:lnTo>
                    <a:pt x="1459840" y="218168"/>
                  </a:lnTo>
                  <a:cubicBezTo>
                    <a:pt x="1460269" y="215629"/>
                    <a:pt x="1460688" y="210126"/>
                    <a:pt x="1460688" y="202927"/>
                  </a:cubicBezTo>
                  <a:cubicBezTo>
                    <a:pt x="1460688" y="137264"/>
                    <a:pt x="1416663" y="91077"/>
                    <a:pt x="1352979" y="91077"/>
                  </a:cubicBezTo>
                  <a:cubicBezTo>
                    <a:pt x="1290562" y="91077"/>
                    <a:pt x="1243547" y="138107"/>
                    <a:pt x="1243547" y="201231"/>
                  </a:cubicBezTo>
                  <a:cubicBezTo>
                    <a:pt x="1243547" y="266041"/>
                    <a:pt x="1289705" y="311376"/>
                    <a:pt x="1355541" y="311376"/>
                  </a:cubicBezTo>
                  <a:close/>
                  <a:moveTo>
                    <a:pt x="1553414" y="305863"/>
                  </a:moveTo>
                  <a:lnTo>
                    <a:pt x="1491006" y="305863"/>
                  </a:lnTo>
                  <a:lnTo>
                    <a:pt x="1491006" y="96590"/>
                  </a:lnTo>
                  <a:lnTo>
                    <a:pt x="1553414" y="96590"/>
                  </a:lnTo>
                  <a:lnTo>
                    <a:pt x="1553414" y="123283"/>
                  </a:lnTo>
                  <a:cubicBezTo>
                    <a:pt x="1566244" y="102946"/>
                    <a:pt x="1587609" y="91086"/>
                    <a:pt x="1615822" y="91086"/>
                  </a:cubicBezTo>
                  <a:cubicBezTo>
                    <a:pt x="1664123" y="91086"/>
                    <a:pt x="1693631" y="123700"/>
                    <a:pt x="1693631" y="176660"/>
                  </a:cubicBezTo>
                  <a:lnTo>
                    <a:pt x="1693631" y="305863"/>
                  </a:lnTo>
                  <a:lnTo>
                    <a:pt x="1631214" y="305863"/>
                  </a:lnTo>
                  <a:lnTo>
                    <a:pt x="1631214" y="191058"/>
                  </a:lnTo>
                  <a:cubicBezTo>
                    <a:pt x="1631214" y="163531"/>
                    <a:pt x="1617536" y="147845"/>
                    <a:pt x="1593171" y="147845"/>
                  </a:cubicBezTo>
                  <a:cubicBezTo>
                    <a:pt x="1569235" y="147845"/>
                    <a:pt x="1553414" y="165644"/>
                    <a:pt x="1553414" y="194875"/>
                  </a:cubicBezTo>
                  <a:lnTo>
                    <a:pt x="1553414" y="305863"/>
                  </a:lnTo>
                  <a:close/>
                  <a:moveTo>
                    <a:pt x="1804083" y="96590"/>
                  </a:moveTo>
                  <a:lnTo>
                    <a:pt x="1804083" y="35162"/>
                  </a:lnTo>
                  <a:lnTo>
                    <a:pt x="1742095" y="35162"/>
                  </a:lnTo>
                  <a:lnTo>
                    <a:pt x="1742095" y="96590"/>
                  </a:lnTo>
                  <a:lnTo>
                    <a:pt x="1712177" y="96590"/>
                  </a:lnTo>
                  <a:lnTo>
                    <a:pt x="1712177" y="147428"/>
                  </a:lnTo>
                  <a:lnTo>
                    <a:pt x="1742095" y="147428"/>
                  </a:lnTo>
                  <a:lnTo>
                    <a:pt x="1742095" y="237236"/>
                  </a:lnTo>
                  <a:cubicBezTo>
                    <a:pt x="1742095" y="283840"/>
                    <a:pt x="1769460" y="310950"/>
                    <a:pt x="1813913" y="310950"/>
                  </a:cubicBezTo>
                  <a:cubicBezTo>
                    <a:pt x="1834001" y="310950"/>
                    <a:pt x="1848108" y="307132"/>
                    <a:pt x="1857509" y="302482"/>
                  </a:cubicBezTo>
                  <a:lnTo>
                    <a:pt x="1857509" y="249095"/>
                  </a:lnTo>
                  <a:cubicBezTo>
                    <a:pt x="1850670" y="253339"/>
                    <a:pt x="1842126" y="255451"/>
                    <a:pt x="1834439" y="255451"/>
                  </a:cubicBezTo>
                  <a:cubicBezTo>
                    <a:pt x="1813913" y="255451"/>
                    <a:pt x="1804083" y="246557"/>
                    <a:pt x="1804083" y="224107"/>
                  </a:cubicBezTo>
                  <a:lnTo>
                    <a:pt x="1804083" y="147428"/>
                  </a:lnTo>
                  <a:lnTo>
                    <a:pt x="1857509" y="147428"/>
                  </a:lnTo>
                  <a:lnTo>
                    <a:pt x="1857509" y="96590"/>
                  </a:lnTo>
                  <a:lnTo>
                    <a:pt x="1804083" y="96590"/>
                  </a:lnTo>
                  <a:close/>
                </a:path>
              </a:pathLst>
            </a:custGeom>
            <a:solidFill>
              <a:schemeClr val="bg2"/>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0261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with Photo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2" y="0"/>
            <a:ext cx="6096002" cy="6858000"/>
          </a:xfrm>
          <a:noFill/>
        </p:spPr>
        <p:txBody>
          <a:bodyPr/>
          <a:lstStyle/>
          <a:p>
            <a:r>
              <a:rPr lang="en-US" dirty="0"/>
              <a:t>Click icon to add picture</a:t>
            </a: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6084000" y="0"/>
            <a:ext cx="6109200" cy="5421600"/>
          </a:xfrm>
          <a:solidFill>
            <a:schemeClr val="bg2"/>
          </a:solidFill>
        </p:spPr>
        <p:txBody>
          <a:bodyPr lIns="1440000" tIns="180000" rIns="360000" bIns="180000" anchor="b" anchorCtr="0"/>
          <a:lstStyle>
            <a:lvl1pPr marL="0" marR="0" indent="0" algn="l" defTabSz="914400" rtl="0" eaLnBrk="1" fontAlgn="auto" latinLnBrk="0" hangingPunct="1">
              <a:lnSpc>
                <a:spcPct val="100000"/>
              </a:lnSpc>
              <a:spcBef>
                <a:spcPct val="0"/>
              </a:spcBef>
              <a:spcAft>
                <a:spcPts val="0"/>
              </a:spcAft>
              <a:buClrTx/>
              <a:buSzTx/>
              <a:buFontTx/>
              <a:buNone/>
              <a:tabLst/>
              <a:defRPr sz="3600" b="1" i="0" spc="-150">
                <a:solidFill>
                  <a:schemeClr val="tx1"/>
                </a:solidFill>
                <a:latin typeface="Arial Black" panose="020B0604020202020204" pitchFamily="34" charset="0"/>
                <a:cs typeface="Arial Black" panose="020B0604020202020204" pitchFamily="34" charset="0"/>
              </a:defRPr>
            </a:lvl1pPr>
          </a:lstStyle>
          <a:p>
            <a:r>
              <a:rPr lang="en-US" dirty="0"/>
              <a:t>Section Title</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6084000" y="5418000"/>
            <a:ext cx="6109200" cy="1443600"/>
          </a:xfrm>
          <a:prstGeom prst="rect">
            <a:avLst/>
          </a:prstGeom>
          <a:solidFill>
            <a:schemeClr val="bg1"/>
          </a:solidFill>
        </p:spPr>
        <p:txBody>
          <a:bodyPr lIns="1440000" tIns="180000" rIns="720000" bIns="18000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Tree>
    <p:extLst>
      <p:ext uri="{BB962C8B-B14F-4D97-AF65-F5344CB8AC3E}">
        <p14:creationId xmlns:p14="http://schemas.microsoft.com/office/powerpoint/2010/main" val="2857052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with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4668000" y="0"/>
            <a:ext cx="7524000" cy="5421600"/>
          </a:xfrm>
          <a:noFill/>
        </p:spPr>
        <p:txBody>
          <a:bodyPr/>
          <a:lstStyle/>
          <a:p>
            <a:r>
              <a:rPr lang="en-US" dirty="0"/>
              <a:t>Click icon to add picture</a:t>
            </a: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0" y="1458000"/>
            <a:ext cx="6109200" cy="3960000"/>
          </a:xfrm>
          <a:solidFill>
            <a:schemeClr val="bg2"/>
          </a:solidFill>
        </p:spPr>
        <p:txBody>
          <a:bodyPr lIns="1440000" tIns="180000" rIns="360000" bIns="180000" anchor="b" anchorCtr="0"/>
          <a:lstStyle>
            <a:lvl1pPr marL="0" marR="0" indent="0" algn="l" defTabSz="914400" rtl="0" eaLnBrk="1" fontAlgn="auto" latinLnBrk="0" hangingPunct="1">
              <a:lnSpc>
                <a:spcPct val="100000"/>
              </a:lnSpc>
              <a:spcBef>
                <a:spcPct val="0"/>
              </a:spcBef>
              <a:spcAft>
                <a:spcPts val="0"/>
              </a:spcAft>
              <a:buClrTx/>
              <a:buSzTx/>
              <a:buFontTx/>
              <a:buNone/>
              <a:tabLst/>
              <a:defRPr sz="3600" b="1" i="0" spc="-150">
                <a:solidFill>
                  <a:schemeClr val="tx1"/>
                </a:solidFill>
                <a:latin typeface="Arial Black" panose="020B0604020202020204" pitchFamily="34" charset="0"/>
                <a:cs typeface="Arial Black" panose="020B0604020202020204" pitchFamily="34" charset="0"/>
              </a:defRPr>
            </a:lvl1pPr>
          </a:lstStyle>
          <a:p>
            <a:r>
              <a:rPr lang="en-US" dirty="0"/>
              <a:t>Section Title</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0" y="5418000"/>
            <a:ext cx="6109200" cy="1443600"/>
          </a:xfrm>
          <a:prstGeom prst="rect">
            <a:avLst/>
          </a:prstGeom>
          <a:solidFill>
            <a:schemeClr val="bg1"/>
          </a:solidFill>
        </p:spPr>
        <p:txBody>
          <a:bodyPr lIns="1440000" tIns="180000" rIns="720000" bIns="180000" anchor="ctr"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Tree>
    <p:extLst>
      <p:ext uri="{BB962C8B-B14F-4D97-AF65-F5344CB8AC3E}">
        <p14:creationId xmlns:p14="http://schemas.microsoft.com/office/powerpoint/2010/main" val="3595295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Midn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5058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Grey">
    <p:bg>
      <p:bgPr>
        <a:solidFill>
          <a:schemeClr val="bg1">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132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Yellow">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2281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Teal">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03750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Rose">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15834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tyle 1) 2 Columns" type="twoObj" preserve="1">
  <p:cSld name="(Style 1) 2 Columns">
    <p:spTree>
      <p:nvGrpSpPr>
        <p:cNvPr id="1" name="Shape 34"/>
        <p:cNvGrpSpPr/>
        <p:nvPr/>
      </p:nvGrpSpPr>
      <p:grpSpPr>
        <a:xfrm>
          <a:off x="0" y="0"/>
          <a:ext cx="0" cy="0"/>
          <a:chOff x="0" y="0"/>
          <a:chExt cx="0" cy="0"/>
        </a:xfrm>
      </p:grpSpPr>
      <p:sp>
        <p:nvSpPr>
          <p:cNvPr id="35" name="Google Shape;35;p77"/>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77"/>
          <p:cNvSpPr txBox="1">
            <a:spLocks noGrp="1"/>
          </p:cNvSpPr>
          <p:nvPr>
            <p:ph type="body" idx="1"/>
          </p:nvPr>
        </p:nvSpPr>
        <p:spPr>
          <a:xfrm>
            <a:off x="360000" y="1080000"/>
            <a:ext cx="55512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500"/>
              </a:spcBef>
              <a:spcAft>
                <a:spcPts val="0"/>
              </a:spcAft>
              <a:buSzPts val="1600"/>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77"/>
          <p:cNvSpPr txBox="1">
            <a:spLocks noGrp="1"/>
          </p:cNvSpPr>
          <p:nvPr>
            <p:ph type="body" idx="2"/>
          </p:nvPr>
        </p:nvSpPr>
        <p:spPr>
          <a:xfrm>
            <a:off x="6262741" y="1080000"/>
            <a:ext cx="55512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500"/>
              </a:spcBef>
              <a:spcAft>
                <a:spcPts val="0"/>
              </a:spcAft>
              <a:buSzPts val="1600"/>
              <a:buChar char="-"/>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 name="Google Shape;38;p77"/>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9710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Gre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bg2">
                    <a:alpha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5018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ents - 1">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1</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4012671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ents - 2">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2</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5424811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ents - 3">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3</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377198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ents - 4">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lvl="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4</a:t>
            </a:r>
            <a:endParaRPr lang="ar-SA" sz="8000" b="1" i="0" dirty="0">
              <a:solidFill>
                <a:schemeClr val="accent1"/>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5</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113567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ents - 5">
    <p:spTree>
      <p:nvGrpSpPr>
        <p:cNvPr id="1" name=""/>
        <p:cNvGrpSpPr/>
        <p:nvPr/>
      </p:nvGrpSpPr>
      <p:grpSpPr>
        <a:xfrm>
          <a:off x="0" y="0"/>
          <a:ext cx="0" cy="0"/>
          <a:chOff x="0" y="0"/>
          <a:chExt cx="0" cy="0"/>
        </a:xfrm>
      </p:grpSpPr>
      <p:sp>
        <p:nvSpPr>
          <p:cNvPr id="47" name="Title 21">
            <a:extLst>
              <a:ext uri="{FF2B5EF4-FFF2-40B4-BE49-F238E27FC236}">
                <a16:creationId xmlns:a16="http://schemas.microsoft.com/office/drawing/2014/main" id="{76DB0B46-C713-3849-8CB7-5D1B8D761186}"/>
              </a:ext>
            </a:extLst>
          </p:cNvPr>
          <p:cNvSpPr txBox="1">
            <a:spLocks/>
          </p:cNvSpPr>
          <p:nvPr userDrawn="1"/>
        </p:nvSpPr>
        <p:spPr>
          <a:xfrm>
            <a:off x="4098000" y="3488400"/>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8" name="Title 21">
            <a:extLst>
              <a:ext uri="{FF2B5EF4-FFF2-40B4-BE49-F238E27FC236}">
                <a16:creationId xmlns:a16="http://schemas.microsoft.com/office/drawing/2014/main" id="{8FA4A840-5BE8-1640-B884-5A0A606BAB49}"/>
              </a:ext>
            </a:extLst>
          </p:cNvPr>
          <p:cNvSpPr txBox="1">
            <a:spLocks/>
          </p:cNvSpPr>
          <p:nvPr userDrawn="1"/>
        </p:nvSpPr>
        <p:spPr>
          <a:xfrm>
            <a:off x="8196000" y="3488400"/>
            <a:ext cx="3996000" cy="3369600"/>
          </a:xfrm>
          <a:prstGeom prst="rect">
            <a:avLst/>
          </a:prstGeom>
          <a:solidFill>
            <a:schemeClr val="bg2"/>
          </a:solidFill>
        </p:spPr>
        <p:txBody>
          <a:bodyPr vert="horz" lIns="360000" tIns="2520000" rIns="0" bIns="0" rtlCol="0" anchor="t" anchorCtr="0">
            <a:noAutofit/>
          </a:bodyPr>
          <a:lstStyle>
            <a:lvl1pPr marL="0" marR="0" indent="0" algn="l" defTabSz="914400" rtl="0" eaLnBrk="1" fontAlgn="auto" latinLnBrk="0" hangingPunct="1">
              <a:lnSpc>
                <a:spcPct val="100000"/>
              </a:lnSpc>
              <a:spcBef>
                <a:spcPct val="0"/>
              </a:spcBef>
              <a:spcAft>
                <a:spcPts val="0"/>
              </a:spcAft>
              <a:buClrTx/>
              <a:buSzTx/>
              <a:buFont typeface="+mj-lt"/>
              <a:buNone/>
              <a:tabLst/>
              <a:defRPr sz="2000" b="1" i="0" kern="1200">
                <a:solidFill>
                  <a:schemeClr val="accent1"/>
                </a:solidFill>
                <a:latin typeface="+mj-lt"/>
                <a:ea typeface="+mj-ea"/>
                <a:cs typeface="Arial Black" panose="020B0604020202020204" pitchFamily="34" charset="0"/>
              </a:defRPr>
            </a:lvl1pPr>
          </a:lstStyle>
          <a:p>
            <a:endParaRPr lang="ar-SA" dirty="0"/>
          </a:p>
        </p:txBody>
      </p:sp>
      <p:sp>
        <p:nvSpPr>
          <p:cNvPr id="50" name="Rectangle 49">
            <a:extLst>
              <a:ext uri="{FF2B5EF4-FFF2-40B4-BE49-F238E27FC236}">
                <a16:creationId xmlns:a16="http://schemas.microsoft.com/office/drawing/2014/main" id="{27A497F7-BA5F-5347-98E7-75E67D4F7F89}"/>
              </a:ext>
            </a:extLst>
          </p:cNvPr>
          <p:cNvSpPr/>
          <p:nvPr userDrawn="1"/>
        </p:nvSpPr>
        <p:spPr>
          <a:xfrm>
            <a:off x="0" y="0"/>
            <a:ext cx="3996000" cy="6858000"/>
          </a:xfrm>
          <a:prstGeom prst="rect">
            <a:avLst/>
          </a:prstGeom>
          <a:solidFill>
            <a:schemeClr val="tx1">
              <a:lumMod val="75000"/>
              <a:lumOff val="25000"/>
            </a:schemeClr>
          </a:solidFill>
        </p:spPr>
        <p:txBody>
          <a:bodyPr vert="horz" lIns="360000" tIns="2520000" rIns="0" bIns="0" rtlCol="0" anchor="t" anchorCtr="0">
            <a:noAutofit/>
          </a:bodyPr>
          <a:lstStyle/>
          <a:p>
            <a:pPr marR="0" lvl="0" indent="0" fontAlgn="auto">
              <a:lnSpc>
                <a:spcPct val="100000"/>
              </a:lnSpc>
              <a:spcBef>
                <a:spcPct val="0"/>
              </a:spcBef>
              <a:spcAft>
                <a:spcPts val="0"/>
              </a:spcAft>
              <a:buClrTx/>
              <a:buSzTx/>
              <a:buFont typeface="+mj-lt"/>
              <a:buNone/>
              <a:tabLst/>
            </a:pPr>
            <a:endParaRPr lang="ar-SA" sz="2000" b="1" i="0">
              <a:solidFill>
                <a:schemeClr val="accent1"/>
              </a:solidFill>
              <a:latin typeface="+mj-lt"/>
              <a:ea typeface="+mj-ea"/>
              <a:cs typeface="Arial Black" panose="020B0604020202020204" pitchFamily="34" charset="0"/>
            </a:endParaRPr>
          </a:p>
        </p:txBody>
      </p:sp>
      <p:sp>
        <p:nvSpPr>
          <p:cNvPr id="45" name="Title 21">
            <a:extLst>
              <a:ext uri="{FF2B5EF4-FFF2-40B4-BE49-F238E27FC236}">
                <a16:creationId xmlns:a16="http://schemas.microsoft.com/office/drawing/2014/main" id="{117764D0-AE5D-8C4C-81DD-8A7FCD673F12}"/>
              </a:ext>
            </a:extLst>
          </p:cNvPr>
          <p:cNvSpPr txBox="1">
            <a:spLocks/>
          </p:cNvSpPr>
          <p:nvPr userDrawn="1"/>
        </p:nvSpPr>
        <p:spPr>
          <a:xfrm>
            <a:off x="4098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46" name="Title 21">
            <a:extLst>
              <a:ext uri="{FF2B5EF4-FFF2-40B4-BE49-F238E27FC236}">
                <a16:creationId xmlns:a16="http://schemas.microsoft.com/office/drawing/2014/main" id="{6FC15789-6A22-D74B-BF59-B0371DE17C6D}"/>
              </a:ext>
            </a:extLst>
          </p:cNvPr>
          <p:cNvSpPr txBox="1">
            <a:spLocks/>
          </p:cNvSpPr>
          <p:nvPr userDrawn="1"/>
        </p:nvSpPr>
        <p:spPr>
          <a:xfrm>
            <a:off x="8196000" y="1288"/>
            <a:ext cx="3996000" cy="3369600"/>
          </a:xfrm>
          <a:prstGeom prst="rect">
            <a:avLst/>
          </a:prstGeom>
          <a:solidFill>
            <a:schemeClr val="tx1">
              <a:lumMod val="75000"/>
              <a:lumOff val="25000"/>
            </a:schemeClr>
          </a:solidFill>
        </p:spPr>
        <p:txBody>
          <a:bodyPr vert="horz" lIns="360000" tIns="2520000" rIns="0" bIns="0" rtlCol="0" anchor="t" anchorCtr="0">
            <a:noAutofit/>
          </a:bodyPr>
          <a:lstStyle>
            <a:defPPr>
              <a:defRPr lang="en-US"/>
            </a:defPPr>
            <a:lvl1pPr marR="0" lvl="0" indent="0" fontAlgn="auto">
              <a:lnSpc>
                <a:spcPct val="100000"/>
              </a:lnSpc>
              <a:spcBef>
                <a:spcPct val="0"/>
              </a:spcBef>
              <a:spcAft>
                <a:spcPts val="0"/>
              </a:spcAft>
              <a:buClrTx/>
              <a:buSzTx/>
              <a:buFont typeface="+mj-lt"/>
              <a:buNone/>
              <a:tabLst/>
              <a:defRPr sz="2000" b="1" i="0">
                <a:solidFill>
                  <a:schemeClr val="accent1"/>
                </a:solidFill>
                <a:latin typeface="+mj-lt"/>
                <a:ea typeface="+mj-ea"/>
                <a:cs typeface="Arial Black" panose="020B0604020202020204" pitchFamily="34" charset="0"/>
              </a:defRPr>
            </a:lvl1pPr>
          </a:lstStyle>
          <a:p>
            <a:pPr lvl="0"/>
            <a:endParaRPr lang="ar-SA" dirty="0"/>
          </a:p>
        </p:txBody>
      </p:sp>
      <p:sp>
        <p:nvSpPr>
          <p:cNvPr id="16" name="Text Placeholder 15">
            <a:extLst>
              <a:ext uri="{FF2B5EF4-FFF2-40B4-BE49-F238E27FC236}">
                <a16:creationId xmlns:a16="http://schemas.microsoft.com/office/drawing/2014/main" id="{5FBE9D40-35C4-D849-B886-042CBCE2353C}"/>
              </a:ext>
            </a:extLst>
          </p:cNvPr>
          <p:cNvSpPr>
            <a:spLocks noGrp="1"/>
          </p:cNvSpPr>
          <p:nvPr>
            <p:ph type="body" sz="quarter" idx="12" hasCustomPrompt="1"/>
          </p:nvPr>
        </p:nvSpPr>
        <p:spPr>
          <a:xfrm>
            <a:off x="360000" y="3356521"/>
            <a:ext cx="3312000" cy="659162"/>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20" name="Text Placeholder 19">
            <a:extLst>
              <a:ext uri="{FF2B5EF4-FFF2-40B4-BE49-F238E27FC236}">
                <a16:creationId xmlns:a16="http://schemas.microsoft.com/office/drawing/2014/main" id="{57F4F9AE-4275-D04D-A77B-C7E6ED554B8C}"/>
              </a:ext>
            </a:extLst>
          </p:cNvPr>
          <p:cNvSpPr>
            <a:spLocks noGrp="1"/>
          </p:cNvSpPr>
          <p:nvPr>
            <p:ph type="body" sz="quarter" idx="13" hasCustomPrompt="1"/>
          </p:nvPr>
        </p:nvSpPr>
        <p:spPr>
          <a:xfrm>
            <a:off x="360362" y="4040152"/>
            <a:ext cx="3312000" cy="68995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31" name="Text Placeholder 15">
            <a:extLst>
              <a:ext uri="{FF2B5EF4-FFF2-40B4-BE49-F238E27FC236}">
                <a16:creationId xmlns:a16="http://schemas.microsoft.com/office/drawing/2014/main" id="{128CD564-34B6-1548-9575-636D8F65E63E}"/>
              </a:ext>
            </a:extLst>
          </p:cNvPr>
          <p:cNvSpPr>
            <a:spLocks noGrp="1"/>
          </p:cNvSpPr>
          <p:nvPr>
            <p:ph type="body" sz="quarter" idx="16" hasCustomPrompt="1"/>
          </p:nvPr>
        </p:nvSpPr>
        <p:spPr>
          <a:xfrm>
            <a:off x="4413840"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32" name="Text Placeholder 19">
            <a:extLst>
              <a:ext uri="{FF2B5EF4-FFF2-40B4-BE49-F238E27FC236}">
                <a16:creationId xmlns:a16="http://schemas.microsoft.com/office/drawing/2014/main" id="{4F8FEC01-B1DE-E841-9070-4E9BA93E905C}"/>
              </a:ext>
            </a:extLst>
          </p:cNvPr>
          <p:cNvSpPr>
            <a:spLocks noGrp="1"/>
          </p:cNvSpPr>
          <p:nvPr>
            <p:ph type="body" sz="quarter" idx="17" hasCustomPrompt="1"/>
          </p:nvPr>
        </p:nvSpPr>
        <p:spPr>
          <a:xfrm>
            <a:off x="4414202"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2" name="Title 1">
            <a:extLst>
              <a:ext uri="{FF2B5EF4-FFF2-40B4-BE49-F238E27FC236}">
                <a16:creationId xmlns:a16="http://schemas.microsoft.com/office/drawing/2014/main" id="{6BF72110-7235-414F-B8D8-FA908DDC00D7}"/>
              </a:ext>
            </a:extLst>
          </p:cNvPr>
          <p:cNvSpPr>
            <a:spLocks noGrp="1"/>
          </p:cNvSpPr>
          <p:nvPr>
            <p:ph type="title"/>
          </p:nvPr>
        </p:nvSpPr>
        <p:spPr/>
        <p:txBody>
          <a:bodyPr/>
          <a:lstStyle/>
          <a:p>
            <a:r>
              <a:rPr lang="en-US"/>
              <a:t>Click to edit Master title style</a:t>
            </a:r>
            <a:endParaRPr lang="en-US" dirty="0"/>
          </a:p>
        </p:txBody>
      </p:sp>
      <p:sp>
        <p:nvSpPr>
          <p:cNvPr id="24" name="TextBox 23">
            <a:extLst>
              <a:ext uri="{FF2B5EF4-FFF2-40B4-BE49-F238E27FC236}">
                <a16:creationId xmlns:a16="http://schemas.microsoft.com/office/drawing/2014/main" id="{5F6ED38F-9B38-9C40-B400-1C9DD6CFBF60}"/>
              </a:ext>
            </a:extLst>
          </p:cNvPr>
          <p:cNvSpPr txBox="1"/>
          <p:nvPr userDrawn="1"/>
        </p:nvSpPr>
        <p:spPr>
          <a:xfrm>
            <a:off x="267629" y="2375214"/>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1</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26" name="TextBox 25">
            <a:extLst>
              <a:ext uri="{FF2B5EF4-FFF2-40B4-BE49-F238E27FC236}">
                <a16:creationId xmlns:a16="http://schemas.microsoft.com/office/drawing/2014/main" id="{BCB3E136-B091-CE45-B0A3-AB696440CD48}"/>
              </a:ext>
            </a:extLst>
          </p:cNvPr>
          <p:cNvSpPr txBox="1"/>
          <p:nvPr userDrawn="1"/>
        </p:nvSpPr>
        <p:spPr>
          <a:xfrm>
            <a:off x="4321098"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2</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49" name="Text Placeholder 15">
            <a:extLst>
              <a:ext uri="{FF2B5EF4-FFF2-40B4-BE49-F238E27FC236}">
                <a16:creationId xmlns:a16="http://schemas.microsoft.com/office/drawing/2014/main" id="{120E566D-4E44-E145-A067-28E1D69F2372}"/>
              </a:ext>
            </a:extLst>
          </p:cNvPr>
          <p:cNvSpPr>
            <a:spLocks noGrp="1"/>
          </p:cNvSpPr>
          <p:nvPr>
            <p:ph type="body" sz="quarter" idx="27" hasCustomPrompt="1"/>
          </p:nvPr>
        </p:nvSpPr>
        <p:spPr>
          <a:xfrm>
            <a:off x="8512098" y="1822575"/>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1" name="Text Placeholder 19">
            <a:extLst>
              <a:ext uri="{FF2B5EF4-FFF2-40B4-BE49-F238E27FC236}">
                <a16:creationId xmlns:a16="http://schemas.microsoft.com/office/drawing/2014/main" id="{4B48E868-F474-2A41-B060-468BE2006647}"/>
              </a:ext>
            </a:extLst>
          </p:cNvPr>
          <p:cNvSpPr>
            <a:spLocks noGrp="1"/>
          </p:cNvSpPr>
          <p:nvPr>
            <p:ph type="body" sz="quarter" idx="28" hasCustomPrompt="1"/>
          </p:nvPr>
        </p:nvSpPr>
        <p:spPr>
          <a:xfrm>
            <a:off x="8512460" y="2514411"/>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2" name="TextBox 51">
            <a:extLst>
              <a:ext uri="{FF2B5EF4-FFF2-40B4-BE49-F238E27FC236}">
                <a16:creationId xmlns:a16="http://schemas.microsoft.com/office/drawing/2014/main" id="{1324595E-6CEA-3F46-AD44-D88B54B105D9}"/>
              </a:ext>
            </a:extLst>
          </p:cNvPr>
          <p:cNvSpPr txBox="1"/>
          <p:nvPr userDrawn="1"/>
        </p:nvSpPr>
        <p:spPr>
          <a:xfrm>
            <a:off x="8419356" y="817755"/>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3</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3" name="Text Placeholder 15">
            <a:extLst>
              <a:ext uri="{FF2B5EF4-FFF2-40B4-BE49-F238E27FC236}">
                <a16:creationId xmlns:a16="http://schemas.microsoft.com/office/drawing/2014/main" id="{366BF43B-034B-A740-A6A2-8A560EEF74A6}"/>
              </a:ext>
            </a:extLst>
          </p:cNvPr>
          <p:cNvSpPr>
            <a:spLocks noGrp="1"/>
          </p:cNvSpPr>
          <p:nvPr>
            <p:ph type="body" sz="quarter" idx="29" hasCustomPrompt="1"/>
          </p:nvPr>
        </p:nvSpPr>
        <p:spPr>
          <a:xfrm>
            <a:off x="4413840" y="5235498"/>
            <a:ext cx="3312000" cy="658800"/>
          </a:xfrm>
        </p:spPr>
        <p:txBody>
          <a:bodyPr anchor="b" anchorCtr="0"/>
          <a:lstStyle>
            <a:lvl1pPr marL="0" indent="0">
              <a:buNone/>
              <a:defRPr b="1">
                <a:solidFill>
                  <a:schemeClr val="tx1">
                    <a:lumMod val="25000"/>
                    <a:lumOff val="75000"/>
                  </a:schemeClr>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4" name="Text Placeholder 19">
            <a:extLst>
              <a:ext uri="{FF2B5EF4-FFF2-40B4-BE49-F238E27FC236}">
                <a16:creationId xmlns:a16="http://schemas.microsoft.com/office/drawing/2014/main" id="{B829E5ED-CDD6-4B4D-BA1C-FDB227180F63}"/>
              </a:ext>
            </a:extLst>
          </p:cNvPr>
          <p:cNvSpPr>
            <a:spLocks noGrp="1"/>
          </p:cNvSpPr>
          <p:nvPr>
            <p:ph type="body" sz="quarter" idx="30" hasCustomPrompt="1"/>
          </p:nvPr>
        </p:nvSpPr>
        <p:spPr>
          <a:xfrm>
            <a:off x="4414202" y="5927334"/>
            <a:ext cx="3312000" cy="607930"/>
          </a:xfrm>
        </p:spPr>
        <p:txBody>
          <a:bodyPr>
            <a:normAutofit/>
          </a:bodyPr>
          <a:lstStyle>
            <a:lvl1pPr marL="0" indent="0">
              <a:buNone/>
              <a:defRPr sz="1400">
                <a:solidFill>
                  <a:schemeClr val="tx1">
                    <a:lumMod val="25000"/>
                    <a:lumOff val="75000"/>
                  </a:schemeClr>
                </a:solidFill>
              </a:defRPr>
            </a:lvl1pPr>
          </a:lstStyle>
          <a:p>
            <a:pPr lvl="0"/>
            <a:r>
              <a:rPr lang="en-US" dirty="0"/>
              <a:t>Subtitle</a:t>
            </a:r>
            <a:endParaRPr lang="ar-SA" dirty="0"/>
          </a:p>
        </p:txBody>
      </p:sp>
      <p:sp>
        <p:nvSpPr>
          <p:cNvPr id="55" name="TextBox 54">
            <a:extLst>
              <a:ext uri="{FF2B5EF4-FFF2-40B4-BE49-F238E27FC236}">
                <a16:creationId xmlns:a16="http://schemas.microsoft.com/office/drawing/2014/main" id="{B0444654-4705-B44F-A5B9-E6EEBEB737B6}"/>
              </a:ext>
            </a:extLst>
          </p:cNvPr>
          <p:cNvSpPr txBox="1"/>
          <p:nvPr userDrawn="1"/>
        </p:nvSpPr>
        <p:spPr>
          <a:xfrm>
            <a:off x="4321098" y="4230678"/>
            <a:ext cx="691376" cy="1323439"/>
          </a:xfrm>
          <a:prstGeom prst="rect">
            <a:avLst/>
          </a:prstGeom>
          <a:noFill/>
        </p:spPr>
        <p:txBody>
          <a:bodyPr wrap="square" rtlCol="0">
            <a:spAutoFit/>
          </a:bodyPr>
          <a:lstStyle/>
          <a:p>
            <a:r>
              <a:rPr lang="en-US" sz="8000" b="1" i="0" dirty="0">
                <a:solidFill>
                  <a:schemeClr val="tx1">
                    <a:lumMod val="25000"/>
                    <a:lumOff val="75000"/>
                  </a:schemeClr>
                </a:solidFill>
                <a:latin typeface="Arial Black" panose="020B0604020202020204" pitchFamily="34" charset="0"/>
                <a:cs typeface="Arial Black" panose="020B0604020202020204" pitchFamily="34" charset="0"/>
              </a:rPr>
              <a:t>4</a:t>
            </a:r>
            <a:endParaRPr lang="ar-SA" sz="8000" b="1" i="0" dirty="0">
              <a:solidFill>
                <a:schemeClr val="tx1">
                  <a:lumMod val="25000"/>
                  <a:lumOff val="75000"/>
                </a:schemeClr>
              </a:solidFill>
              <a:latin typeface="Arial Black" panose="020B0604020202020204" pitchFamily="34" charset="0"/>
              <a:cs typeface="Arial Black" panose="020B0604020202020204" pitchFamily="34" charset="0"/>
            </a:endParaRPr>
          </a:p>
        </p:txBody>
      </p:sp>
      <p:sp>
        <p:nvSpPr>
          <p:cNvPr id="56" name="Text Placeholder 15">
            <a:extLst>
              <a:ext uri="{FF2B5EF4-FFF2-40B4-BE49-F238E27FC236}">
                <a16:creationId xmlns:a16="http://schemas.microsoft.com/office/drawing/2014/main" id="{82E7B204-507F-D940-B064-9636BCEE195F}"/>
              </a:ext>
            </a:extLst>
          </p:cNvPr>
          <p:cNvSpPr>
            <a:spLocks noGrp="1"/>
          </p:cNvSpPr>
          <p:nvPr>
            <p:ph type="body" sz="quarter" idx="31" hasCustomPrompt="1"/>
          </p:nvPr>
        </p:nvSpPr>
        <p:spPr>
          <a:xfrm>
            <a:off x="8512098" y="5235498"/>
            <a:ext cx="3312000" cy="658800"/>
          </a:xfrm>
        </p:spPr>
        <p:txBody>
          <a:bodyPr anchor="b" anchorCtr="0"/>
          <a:lstStyle>
            <a:lvl1pPr marL="0" indent="0">
              <a:buNone/>
              <a:defRPr b="1">
                <a:solidFill>
                  <a:schemeClr val="tx1"/>
                </a:solidFill>
              </a:defRPr>
            </a:lvl1pPr>
            <a:lvl2pPr marL="360000" indent="0">
              <a:buNone/>
              <a:defRPr>
                <a:solidFill>
                  <a:schemeClr val="tx1"/>
                </a:solidFill>
              </a:defRPr>
            </a:lvl2pPr>
            <a:lvl3pPr marL="914400" indent="0">
              <a:buFont typeface="Arial" panose="020B0604020202020204" pitchFamily="34" charse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GB" dirty="0"/>
              <a:t>Section Title (Max 2 Lines)</a:t>
            </a:r>
            <a:endParaRPr lang="ar-SA" dirty="0"/>
          </a:p>
        </p:txBody>
      </p:sp>
      <p:sp>
        <p:nvSpPr>
          <p:cNvPr id="57" name="Text Placeholder 19">
            <a:extLst>
              <a:ext uri="{FF2B5EF4-FFF2-40B4-BE49-F238E27FC236}">
                <a16:creationId xmlns:a16="http://schemas.microsoft.com/office/drawing/2014/main" id="{C3576C37-A74A-8442-8889-CBF2E07F1BC8}"/>
              </a:ext>
            </a:extLst>
          </p:cNvPr>
          <p:cNvSpPr>
            <a:spLocks noGrp="1"/>
          </p:cNvSpPr>
          <p:nvPr>
            <p:ph type="body" sz="quarter" idx="32" hasCustomPrompt="1"/>
          </p:nvPr>
        </p:nvSpPr>
        <p:spPr>
          <a:xfrm>
            <a:off x="8512460" y="5927334"/>
            <a:ext cx="3312000" cy="607930"/>
          </a:xfrm>
        </p:spPr>
        <p:txBody>
          <a:bodyPr>
            <a:normAutofit/>
          </a:bodyPr>
          <a:lstStyle>
            <a:lvl1pPr marL="0" indent="0">
              <a:buNone/>
              <a:defRPr sz="1400">
                <a:solidFill>
                  <a:schemeClr val="tx2">
                    <a:lumMod val="60000"/>
                    <a:lumOff val="40000"/>
                  </a:schemeClr>
                </a:solidFill>
              </a:defRPr>
            </a:lvl1pPr>
          </a:lstStyle>
          <a:p>
            <a:pPr lvl="0"/>
            <a:r>
              <a:rPr lang="en-US" dirty="0"/>
              <a:t>Subtitle</a:t>
            </a:r>
            <a:endParaRPr lang="ar-SA" dirty="0"/>
          </a:p>
        </p:txBody>
      </p:sp>
      <p:sp>
        <p:nvSpPr>
          <p:cNvPr id="58" name="TextBox 57">
            <a:extLst>
              <a:ext uri="{FF2B5EF4-FFF2-40B4-BE49-F238E27FC236}">
                <a16:creationId xmlns:a16="http://schemas.microsoft.com/office/drawing/2014/main" id="{92E4B186-2E94-E44D-991A-7313E27FA9CC}"/>
              </a:ext>
            </a:extLst>
          </p:cNvPr>
          <p:cNvSpPr txBox="1"/>
          <p:nvPr userDrawn="1"/>
        </p:nvSpPr>
        <p:spPr>
          <a:xfrm>
            <a:off x="8419356" y="4230678"/>
            <a:ext cx="691376" cy="1323439"/>
          </a:xfrm>
          <a:prstGeom prst="rect">
            <a:avLst/>
          </a:prstGeom>
          <a:noFill/>
        </p:spPr>
        <p:txBody>
          <a:bodyPr wrap="square" rtlCol="0">
            <a:spAutoFit/>
          </a:bodyPr>
          <a:lstStyle/>
          <a:p>
            <a:r>
              <a:rPr lang="en-US" sz="8000" b="1" i="0" dirty="0">
                <a:solidFill>
                  <a:schemeClr val="accent1"/>
                </a:solidFill>
                <a:latin typeface="Arial Black" panose="020B0604020202020204" pitchFamily="34" charset="0"/>
                <a:cs typeface="Arial Black" panose="020B0604020202020204" pitchFamily="34" charset="0"/>
              </a:rPr>
              <a:t>5</a:t>
            </a:r>
            <a:endParaRPr lang="ar-SA" sz="8000" b="1" i="0" dirty="0">
              <a:solidFill>
                <a:schemeClr val="accent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99122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9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lgn="l" defTabSz="914400" rtl="0" eaLnBrk="1" latinLnBrk="0" hangingPunct="1">
              <a:lnSpc>
                <a:spcPct val="90000"/>
              </a:lnSpc>
              <a:spcBef>
                <a:spcPct val="0"/>
              </a:spcBef>
              <a:buNone/>
              <a:defRPr lang="en-US" dirty="0"/>
            </a:lvl1p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prstGeom prst="rect">
            <a:avLst/>
          </a:prstGeo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tx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Tree>
    <p:extLst>
      <p:ext uri="{BB962C8B-B14F-4D97-AF65-F5344CB8AC3E}">
        <p14:creationId xmlns:p14="http://schemas.microsoft.com/office/powerpoint/2010/main" val="142889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with Text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lang="en-US" dirty="0"/>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1079998"/>
            <a:ext cx="11469600" cy="5228727"/>
          </a:xfrm>
          <a:prstGeom prst="rect">
            <a:avLst/>
          </a:prstGeom>
        </p:spPr>
        <p:txBody>
          <a:bodyPr/>
          <a:lstStyle>
            <a:lvl1pPr>
              <a:defRPr lang="en-US" dirty="0"/>
            </a:lvl1pPr>
            <a:lvl2pPr marL="645750" indent="-285750">
              <a:spcBef>
                <a:spcPts val="500"/>
              </a:spcBef>
              <a:defRPr lang="en-US" dirty="0"/>
            </a:lvl2pPr>
          </a:lstStyle>
          <a:p>
            <a:pPr lvl="0"/>
            <a:r>
              <a:rPr lang="en-US" dirty="0"/>
              <a:t>Click to edit text</a:t>
            </a:r>
          </a:p>
          <a:p>
            <a:pPr marL="540000" lvl="1" indent="-180000"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5" name="Slide Number Placeholder 6">
            <a:extLst>
              <a:ext uri="{FF2B5EF4-FFF2-40B4-BE49-F238E27FC236}">
                <a16:creationId xmlns:a16="http://schemas.microsoft.com/office/drawing/2014/main" id="{99711CFA-7DFC-4420-AB22-1181B2FE9397}"/>
              </a:ext>
            </a:extLst>
          </p:cNvPr>
          <p:cNvSpPr txBox="1">
            <a:spLocks/>
          </p:cNvSpPr>
          <p:nvPr userDrawn="1"/>
        </p:nvSpPr>
        <p:spPr>
          <a:xfrm>
            <a:off x="360000" y="6318000"/>
            <a:ext cx="180000" cy="540000"/>
          </a:xfrm>
          <a:prstGeom prst="rect">
            <a:avLst/>
          </a:prstGeom>
        </p:spPr>
        <p:txBody>
          <a:bodyPr lIns="0" r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0F7689-66CB-EC4F-9B5C-9C3D3ED1F24F}" type="slidenum">
              <a:rPr lang="en-US" sz="800" smtClean="0">
                <a:solidFill>
                  <a:schemeClr val="tx2">
                    <a:lumMod val="60000"/>
                    <a:lumOff val="40000"/>
                    <a:alpha val="50000"/>
                  </a:schemeClr>
                </a:solidFill>
              </a:rPr>
              <a:pPr/>
              <a:t>‹#›</a:t>
            </a:fld>
            <a:endParaRPr lang="en-US" sz="800" dirty="0">
              <a:solidFill>
                <a:schemeClr val="tx2">
                  <a:lumMod val="60000"/>
                  <a:lumOff val="40000"/>
                  <a:alpha val="50000"/>
                </a:schemeClr>
              </a:solidFill>
            </a:endParaRPr>
          </a:p>
        </p:txBody>
      </p:sp>
    </p:spTree>
    <p:extLst>
      <p:ext uri="{BB962C8B-B14F-4D97-AF65-F5344CB8AC3E}">
        <p14:creationId xmlns:p14="http://schemas.microsoft.com/office/powerpoint/2010/main" val="250391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89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with Big title and 3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360000" y="0"/>
            <a:ext cx="11476800" cy="2962800"/>
          </a:xfrm>
          <a:noFill/>
        </p:spPr>
        <p:txBody>
          <a:bodyPr lIns="0" tIns="0" rIns="0" bIns="0" anchor="b" anchorCtr="0"/>
          <a:lstStyle>
            <a:lvl1pPr algn="l">
              <a:lnSpc>
                <a:spcPct val="100000"/>
              </a:lnSpc>
              <a:defRPr sz="7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Big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359999" y="2962800"/>
            <a:ext cx="11476799" cy="1846800"/>
          </a:xfrm>
          <a:prstGeom prst="rect">
            <a:avLst/>
          </a:prstGeom>
          <a:noFill/>
        </p:spPr>
        <p:txBody>
          <a:bodyPr lIns="0" tIns="14400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352424" y="4905375"/>
            <a:ext cx="3693600" cy="1418400"/>
          </a:xfrm>
          <a:solidFill>
            <a:schemeClr val="bg2"/>
          </a:solidFill>
          <a:effectLst>
            <a:innerShdw dist="38100" dir="5400000">
              <a:schemeClr val="accent1"/>
            </a:innerShdw>
          </a:effectLst>
        </p:spPr>
        <p:txBody>
          <a:bodyPr lIns="180000" tIns="180000" rIns="180000" bIns="180000"/>
          <a:lstStyle>
            <a:lvl1pPr marL="0" indent="0">
              <a:buNone/>
              <a:defRPr b="1" i="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8" name="Text Placeholder 5">
            <a:extLst>
              <a:ext uri="{FF2B5EF4-FFF2-40B4-BE49-F238E27FC236}">
                <a16:creationId xmlns:a16="http://schemas.microsoft.com/office/drawing/2014/main" id="{E1DD0F7B-798F-C648-B9AB-98D25A307B80}"/>
              </a:ext>
            </a:extLst>
          </p:cNvPr>
          <p:cNvSpPr>
            <a:spLocks noGrp="1"/>
          </p:cNvSpPr>
          <p:nvPr>
            <p:ph type="body" sz="quarter" idx="12" hasCustomPrompt="1"/>
          </p:nvPr>
        </p:nvSpPr>
        <p:spPr>
          <a:xfrm>
            <a:off x="4248000" y="4906800"/>
            <a:ext cx="3693600" cy="1418400"/>
          </a:xfrm>
          <a:solidFill>
            <a:schemeClr val="bg2"/>
          </a:solidFill>
          <a:effectLst>
            <a:innerShdw dist="38100" dir="5400000">
              <a:schemeClr val="accent1"/>
            </a:innerShdw>
          </a:effectLst>
        </p:spPr>
        <p:txBody>
          <a:bodyPr lIns="180000" tIns="180000" rIns="180000" bIns="180000"/>
          <a:lstStyle>
            <a:lvl1pPr marL="0" indent="0">
              <a:buNone/>
              <a:defRPr b="1" i="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9" name="Text Placeholder 5">
            <a:extLst>
              <a:ext uri="{FF2B5EF4-FFF2-40B4-BE49-F238E27FC236}">
                <a16:creationId xmlns:a16="http://schemas.microsoft.com/office/drawing/2014/main" id="{7A1029AF-5E97-D943-82EF-A5B9D647360C}"/>
              </a:ext>
            </a:extLst>
          </p:cNvPr>
          <p:cNvSpPr>
            <a:spLocks noGrp="1"/>
          </p:cNvSpPr>
          <p:nvPr>
            <p:ph type="body" sz="quarter" idx="13" hasCustomPrompt="1"/>
          </p:nvPr>
        </p:nvSpPr>
        <p:spPr>
          <a:xfrm>
            <a:off x="8139600" y="4906800"/>
            <a:ext cx="3693600" cy="1418400"/>
          </a:xfrm>
          <a:solidFill>
            <a:schemeClr val="bg2"/>
          </a:solidFill>
          <a:effectLst>
            <a:innerShdw dist="38100" dir="5400000">
              <a:schemeClr val="accent1"/>
            </a:innerShdw>
          </a:effectLst>
        </p:spPr>
        <p:txBody>
          <a:bodyPr lIns="180000" tIns="180000" rIns="180000" bIns="180000"/>
          <a:lstStyle>
            <a:lvl1pPr marL="0" indent="0">
              <a:buNone/>
              <a:defRPr b="1" i="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352425" y="5387975"/>
            <a:ext cx="3687763" cy="920750"/>
          </a:xfrm>
        </p:spPr>
        <p:txBody>
          <a:bodyPr lIns="180000" tIns="72000" rIns="144000" bIns="180000">
            <a:normAutofit/>
          </a:bodyPr>
          <a:lstStyle>
            <a:lvl1pPr marL="0" indent="0">
              <a:buNone/>
              <a:defRPr sz="1200">
                <a:solidFill>
                  <a:schemeClr val="tx1"/>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5" name="Text Placeholder 12">
            <a:extLst>
              <a:ext uri="{FF2B5EF4-FFF2-40B4-BE49-F238E27FC236}">
                <a16:creationId xmlns:a16="http://schemas.microsoft.com/office/drawing/2014/main" id="{7EF617E9-D826-4F4C-ABF6-2FF4A3A25726}"/>
              </a:ext>
            </a:extLst>
          </p:cNvPr>
          <p:cNvSpPr>
            <a:spLocks noGrp="1"/>
          </p:cNvSpPr>
          <p:nvPr>
            <p:ph type="body" sz="quarter" idx="15" hasCustomPrompt="1"/>
          </p:nvPr>
        </p:nvSpPr>
        <p:spPr>
          <a:xfrm>
            <a:off x="4248000" y="5387975"/>
            <a:ext cx="3687763" cy="920750"/>
          </a:xfrm>
        </p:spPr>
        <p:txBody>
          <a:bodyPr lIns="180000" tIns="72000" rIns="144000" bIns="180000">
            <a:normAutofit/>
          </a:bodyPr>
          <a:lstStyle>
            <a:lvl1pPr marL="0" indent="0">
              <a:buNone/>
              <a:defRPr sz="1200">
                <a:solidFill>
                  <a:schemeClr val="tx1"/>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6" name="Text Placeholder 12">
            <a:extLst>
              <a:ext uri="{FF2B5EF4-FFF2-40B4-BE49-F238E27FC236}">
                <a16:creationId xmlns:a16="http://schemas.microsoft.com/office/drawing/2014/main" id="{AD39C6F7-AEAA-DA44-BD02-1F651EA75C52}"/>
              </a:ext>
            </a:extLst>
          </p:cNvPr>
          <p:cNvSpPr>
            <a:spLocks noGrp="1"/>
          </p:cNvSpPr>
          <p:nvPr>
            <p:ph type="body" sz="quarter" idx="16" hasCustomPrompt="1"/>
          </p:nvPr>
        </p:nvSpPr>
        <p:spPr>
          <a:xfrm>
            <a:off x="8139600" y="5387975"/>
            <a:ext cx="3687763" cy="920750"/>
          </a:xfrm>
        </p:spPr>
        <p:txBody>
          <a:bodyPr lIns="180000" tIns="72000" rIns="144000" bIns="180000">
            <a:normAutofit/>
          </a:bodyPr>
          <a:lstStyle>
            <a:lvl1pPr marL="0" indent="0">
              <a:buNone/>
              <a:defRPr sz="1200">
                <a:solidFill>
                  <a:schemeClr val="tx1"/>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4" name="Slide Number Placeholder 3">
            <a:extLst>
              <a:ext uri="{FF2B5EF4-FFF2-40B4-BE49-F238E27FC236}">
                <a16:creationId xmlns:a16="http://schemas.microsoft.com/office/drawing/2014/main" id="{B95F87B3-1C43-9B4B-ACF3-4BE3E610BD8C}"/>
              </a:ext>
            </a:extLst>
          </p:cNvPr>
          <p:cNvSpPr>
            <a:spLocks noGrp="1"/>
          </p:cNvSpPr>
          <p:nvPr>
            <p:ph type="sldNum" sz="quarter" idx="17"/>
          </p:nvPr>
        </p:nvSpPr>
        <p:spPr/>
        <p:txBody>
          <a:bodyPr/>
          <a:lstStyle/>
          <a:p>
            <a:fld id="{9A0F7689-66CB-EC4F-9B5C-9C3D3ED1F24F}" type="slidenum">
              <a:rPr lang="en-US" smtClean="0"/>
              <a:pPr/>
              <a:t>‹#›</a:t>
            </a:fld>
            <a:endParaRPr lang="en-US" dirty="0"/>
          </a:p>
        </p:txBody>
      </p:sp>
    </p:spTree>
    <p:extLst>
      <p:ext uri="{BB962C8B-B14F-4D97-AF65-F5344CB8AC3E}">
        <p14:creationId xmlns:p14="http://schemas.microsoft.com/office/powerpoint/2010/main" val="2444366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tyle 1) 3 Columns" preserve="1">
  <p:cSld name="(Style 1) 3 Columns">
    <p:spTree>
      <p:nvGrpSpPr>
        <p:cNvPr id="1" name="Shape 39"/>
        <p:cNvGrpSpPr/>
        <p:nvPr/>
      </p:nvGrpSpPr>
      <p:grpSpPr>
        <a:xfrm>
          <a:off x="0" y="0"/>
          <a:ext cx="0" cy="0"/>
          <a:chOff x="0" y="0"/>
          <a:chExt cx="0" cy="0"/>
        </a:xfrm>
      </p:grpSpPr>
      <p:sp>
        <p:nvSpPr>
          <p:cNvPr id="40" name="Google Shape;40;p78"/>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78"/>
          <p:cNvSpPr txBox="1">
            <a:spLocks noGrp="1"/>
          </p:cNvSpPr>
          <p:nvPr>
            <p:ph type="body" idx="1"/>
          </p:nvPr>
        </p:nvSpPr>
        <p:spPr>
          <a:xfrm>
            <a:off x="360000" y="1080000"/>
            <a:ext cx="360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78"/>
          <p:cNvSpPr txBox="1">
            <a:spLocks noGrp="1"/>
          </p:cNvSpPr>
          <p:nvPr>
            <p:ph type="body" idx="2"/>
          </p:nvPr>
        </p:nvSpPr>
        <p:spPr>
          <a:xfrm>
            <a:off x="4296000" y="1080000"/>
            <a:ext cx="360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78"/>
          <p:cNvSpPr txBox="1">
            <a:spLocks noGrp="1"/>
          </p:cNvSpPr>
          <p:nvPr>
            <p:ph type="body" idx="3"/>
          </p:nvPr>
        </p:nvSpPr>
        <p:spPr>
          <a:xfrm>
            <a:off x="8213941" y="1080000"/>
            <a:ext cx="360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78"/>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3789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with Big Title and 4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5C3F1A-D19C-A84A-BB8E-97A3AFAA4616}"/>
              </a:ext>
            </a:extLst>
          </p:cNvPr>
          <p:cNvSpPr/>
          <p:nvPr userDrawn="1"/>
        </p:nvSpPr>
        <p:spPr>
          <a:xfrm>
            <a:off x="0" y="5476240"/>
            <a:ext cx="12192000" cy="13817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360000" y="0"/>
            <a:ext cx="11476800" cy="2962800"/>
          </a:xfrm>
          <a:noFill/>
        </p:spPr>
        <p:txBody>
          <a:bodyPr lIns="0" tIns="0" rIns="0" bIns="0" anchor="b" anchorCtr="0"/>
          <a:lstStyle>
            <a:lvl1pPr algn="l">
              <a:lnSpc>
                <a:spcPct val="100000"/>
              </a:lnSpc>
              <a:defRPr sz="7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Big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359999" y="2962800"/>
            <a:ext cx="11468463" cy="1846800"/>
          </a:xfrm>
          <a:prstGeom prst="rect">
            <a:avLst/>
          </a:prstGeom>
          <a:noFill/>
        </p:spPr>
        <p:txBody>
          <a:bodyPr lIns="0" tIns="14400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20000"/>
                    <a:lumOff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352424" y="4905375"/>
            <a:ext cx="2872800" cy="14436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352425" y="5387975"/>
            <a:ext cx="2872800" cy="920750"/>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1" name="Text Placeholder 5">
            <a:extLst>
              <a:ext uri="{FF2B5EF4-FFF2-40B4-BE49-F238E27FC236}">
                <a16:creationId xmlns:a16="http://schemas.microsoft.com/office/drawing/2014/main" id="{5ECC2C54-9DF0-1E4A-AC57-F8DDCA828C7A}"/>
              </a:ext>
            </a:extLst>
          </p:cNvPr>
          <p:cNvSpPr>
            <a:spLocks noGrp="1"/>
          </p:cNvSpPr>
          <p:nvPr>
            <p:ph type="body" sz="quarter" idx="15" hasCustomPrompt="1"/>
          </p:nvPr>
        </p:nvSpPr>
        <p:spPr>
          <a:xfrm>
            <a:off x="3225600" y="4905375"/>
            <a:ext cx="2872800" cy="14436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2" name="Text Placeholder 12">
            <a:extLst>
              <a:ext uri="{FF2B5EF4-FFF2-40B4-BE49-F238E27FC236}">
                <a16:creationId xmlns:a16="http://schemas.microsoft.com/office/drawing/2014/main" id="{9A9FBB97-8C0A-E146-AFE3-5FD58BC02815}"/>
              </a:ext>
            </a:extLst>
          </p:cNvPr>
          <p:cNvSpPr>
            <a:spLocks noGrp="1"/>
          </p:cNvSpPr>
          <p:nvPr>
            <p:ph type="body" sz="quarter" idx="16" hasCustomPrompt="1"/>
          </p:nvPr>
        </p:nvSpPr>
        <p:spPr>
          <a:xfrm>
            <a:off x="3225600" y="5387975"/>
            <a:ext cx="2872800" cy="920750"/>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4" name="Text Placeholder 5">
            <a:extLst>
              <a:ext uri="{FF2B5EF4-FFF2-40B4-BE49-F238E27FC236}">
                <a16:creationId xmlns:a16="http://schemas.microsoft.com/office/drawing/2014/main" id="{8B60FC42-FFE8-1A4A-8B75-2FBB71B31847}"/>
              </a:ext>
            </a:extLst>
          </p:cNvPr>
          <p:cNvSpPr>
            <a:spLocks noGrp="1"/>
          </p:cNvSpPr>
          <p:nvPr>
            <p:ph type="body" sz="quarter" idx="17" hasCustomPrompt="1"/>
          </p:nvPr>
        </p:nvSpPr>
        <p:spPr>
          <a:xfrm>
            <a:off x="6096000" y="4905375"/>
            <a:ext cx="2872800" cy="14436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7" name="Text Placeholder 12">
            <a:extLst>
              <a:ext uri="{FF2B5EF4-FFF2-40B4-BE49-F238E27FC236}">
                <a16:creationId xmlns:a16="http://schemas.microsoft.com/office/drawing/2014/main" id="{3D277FE7-06BD-784B-A695-6E97022EE6CA}"/>
              </a:ext>
            </a:extLst>
          </p:cNvPr>
          <p:cNvSpPr>
            <a:spLocks noGrp="1"/>
          </p:cNvSpPr>
          <p:nvPr>
            <p:ph type="body" sz="quarter" idx="18" hasCustomPrompt="1"/>
          </p:nvPr>
        </p:nvSpPr>
        <p:spPr>
          <a:xfrm>
            <a:off x="6096000" y="5387975"/>
            <a:ext cx="2872800" cy="920750"/>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18" name="Text Placeholder 5">
            <a:extLst>
              <a:ext uri="{FF2B5EF4-FFF2-40B4-BE49-F238E27FC236}">
                <a16:creationId xmlns:a16="http://schemas.microsoft.com/office/drawing/2014/main" id="{D52BD68D-6847-3441-862C-A2206D463395}"/>
              </a:ext>
            </a:extLst>
          </p:cNvPr>
          <p:cNvSpPr>
            <a:spLocks noGrp="1"/>
          </p:cNvSpPr>
          <p:nvPr>
            <p:ph type="body" sz="quarter" idx="19" hasCustomPrompt="1"/>
          </p:nvPr>
        </p:nvSpPr>
        <p:spPr>
          <a:xfrm>
            <a:off x="8964000" y="4905375"/>
            <a:ext cx="2872800" cy="1443600"/>
          </a:xfrm>
          <a:solidFill>
            <a:schemeClr val="accent2"/>
          </a:solidFill>
          <a:effectLst>
            <a:innerShdw dist="38100" dir="5400000">
              <a:schemeClr val="bg2"/>
            </a:innerShdw>
          </a:effectLst>
        </p:spPr>
        <p:txBody>
          <a:bodyPr lIns="180000" tIns="180000" rIns="180000" bIns="180000"/>
          <a:lstStyle>
            <a:lvl1pPr marL="0" indent="0">
              <a:buNone/>
              <a:defRPr b="1" i="0">
                <a:solidFill>
                  <a:schemeClr val="bg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nvincing Point</a:t>
            </a:r>
            <a:endParaRPr lang="ar-SA" dirty="0"/>
          </a:p>
        </p:txBody>
      </p:sp>
      <p:sp>
        <p:nvSpPr>
          <p:cNvPr id="19" name="Text Placeholder 12">
            <a:extLst>
              <a:ext uri="{FF2B5EF4-FFF2-40B4-BE49-F238E27FC236}">
                <a16:creationId xmlns:a16="http://schemas.microsoft.com/office/drawing/2014/main" id="{33462742-93D6-2C42-BDBB-A7F29B59C98A}"/>
              </a:ext>
            </a:extLst>
          </p:cNvPr>
          <p:cNvSpPr>
            <a:spLocks noGrp="1"/>
          </p:cNvSpPr>
          <p:nvPr>
            <p:ph type="body" sz="quarter" idx="20" hasCustomPrompt="1"/>
          </p:nvPr>
        </p:nvSpPr>
        <p:spPr>
          <a:xfrm>
            <a:off x="8964000" y="5387975"/>
            <a:ext cx="2872800" cy="920750"/>
          </a:xfrm>
        </p:spPr>
        <p:txBody>
          <a:bodyPr lIns="180000" tIns="72000" rIns="144000" bIns="180000">
            <a:normAutofit/>
          </a:bodyPr>
          <a:lstStyle>
            <a:lvl1pPr marL="0" indent="0">
              <a:buNone/>
              <a:defRPr sz="1200">
                <a:solidFill>
                  <a:schemeClr val="bg2"/>
                </a:solidFill>
              </a:defRPr>
            </a:lvl1pPr>
          </a:lstStyle>
          <a:p>
            <a:pPr lvl="0"/>
            <a:r>
              <a:rPr lang="en-GB" dirty="0"/>
              <a:t>Description </a:t>
            </a:r>
            <a:r>
              <a:rPr lang="en-US" sz="1200" b="0" dirty="0"/>
              <a:t>of the very convincing and well written point. Make sure it’s short and powerful.</a:t>
            </a:r>
            <a:endParaRPr lang="ar-SA" dirty="0"/>
          </a:p>
        </p:txBody>
      </p:sp>
      <p:sp>
        <p:nvSpPr>
          <p:cNvPr id="4" name="Slide Number Placeholder 3">
            <a:extLst>
              <a:ext uri="{FF2B5EF4-FFF2-40B4-BE49-F238E27FC236}">
                <a16:creationId xmlns:a16="http://schemas.microsoft.com/office/drawing/2014/main" id="{E49CA2E8-8973-984F-8E7D-2567324532A1}"/>
              </a:ext>
            </a:extLst>
          </p:cNvPr>
          <p:cNvSpPr>
            <a:spLocks noGrp="1"/>
          </p:cNvSpPr>
          <p:nvPr>
            <p:ph type="sldNum" sz="quarter" idx="21"/>
          </p:nvPr>
        </p:nvSpPr>
        <p:spPr/>
        <p:txBody>
          <a:bodyPr/>
          <a:lstStyle/>
          <a:p>
            <a:fld id="{9A0F7689-66CB-EC4F-9B5C-9C3D3ED1F24F}" type="slidenum">
              <a:rPr lang="en-US" smtClean="0"/>
              <a:pPr/>
              <a:t>‹#›</a:t>
            </a:fld>
            <a:endParaRPr lang="en-US" dirty="0"/>
          </a:p>
        </p:txBody>
      </p:sp>
    </p:spTree>
    <p:extLst>
      <p:ext uri="{BB962C8B-B14F-4D97-AF65-F5344CB8AC3E}">
        <p14:creationId xmlns:p14="http://schemas.microsoft.com/office/powerpoint/2010/main" val="3848095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Photo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3A57AE-F575-8045-AA77-270E1E606BAD}"/>
              </a:ext>
            </a:extLst>
          </p:cNvPr>
          <p:cNvSpPr/>
          <p:nvPr userDrawn="1"/>
        </p:nvSpPr>
        <p:spPr>
          <a:xfrm>
            <a:off x="0" y="0"/>
            <a:ext cx="29986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Rectangle 1">
            <a:extLst>
              <a:ext uri="{FF2B5EF4-FFF2-40B4-BE49-F238E27FC236}">
                <a16:creationId xmlns:a16="http://schemas.microsoft.com/office/drawing/2014/main" id="{6594DA25-C784-7842-B9E7-159A55176936}"/>
              </a:ext>
            </a:extLst>
          </p:cNvPr>
          <p:cNvSpPr/>
          <p:nvPr userDrawn="1"/>
        </p:nvSpPr>
        <p:spPr>
          <a:xfrm>
            <a:off x="0" y="1134443"/>
            <a:ext cx="6084888" cy="44766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8" name="Text Placeholder 12">
            <a:extLst>
              <a:ext uri="{FF2B5EF4-FFF2-40B4-BE49-F238E27FC236}">
                <a16:creationId xmlns:a16="http://schemas.microsoft.com/office/drawing/2014/main" id="{5C872AD5-8C1C-1B4A-8B84-AE73DCF17E78}"/>
              </a:ext>
            </a:extLst>
          </p:cNvPr>
          <p:cNvSpPr>
            <a:spLocks noGrp="1"/>
          </p:cNvSpPr>
          <p:nvPr>
            <p:ph type="body" sz="quarter" idx="14" hasCustomPrompt="1"/>
          </p:nvPr>
        </p:nvSpPr>
        <p:spPr>
          <a:xfrm>
            <a:off x="-6312" y="1141368"/>
            <a:ext cx="6091200" cy="1200779"/>
          </a:xfrm>
          <a:noFill/>
        </p:spPr>
        <p:txBody>
          <a:bodyPr lIns="360000" tIns="360000" rIns="360000" bIns="360000" anchor="b" anchorCtr="0">
            <a:normAutofit/>
          </a:bodyPr>
          <a:lstStyle>
            <a:lvl1pPr marL="0" indent="0">
              <a:lnSpc>
                <a:spcPct val="100000"/>
              </a:lnSpc>
              <a:spcBef>
                <a:spcPts val="300"/>
              </a:spcBef>
              <a:buNone/>
              <a:defRPr sz="2200" b="1" i="0" spc="-150">
                <a:solidFill>
                  <a:srgbClr val="79787F"/>
                </a:solidFill>
                <a:latin typeface="Arial Black" panose="020B0604020202020204" pitchFamily="34" charset="0"/>
                <a:cs typeface="Arial Black" panose="020B0604020202020204" pitchFamily="34" charset="0"/>
              </a:defRPr>
            </a:lvl1pPr>
          </a:lstStyle>
          <a:p>
            <a:pPr lvl="0"/>
            <a:r>
              <a:rPr lang="en-US" dirty="0" err="1"/>
              <a:t>Loreum</a:t>
            </a:r>
            <a:r>
              <a:rPr lang="en-US" dirty="0"/>
              <a:t> Ipsum</a:t>
            </a:r>
          </a:p>
        </p:txBody>
      </p:sp>
      <p:sp>
        <p:nvSpPr>
          <p:cNvPr id="8" name="Text Placeholder 7">
            <a:extLst>
              <a:ext uri="{FF2B5EF4-FFF2-40B4-BE49-F238E27FC236}">
                <a16:creationId xmlns:a16="http://schemas.microsoft.com/office/drawing/2014/main" id="{F830BF3E-8EC4-134A-B454-E5DADCD9A878}"/>
              </a:ext>
            </a:extLst>
          </p:cNvPr>
          <p:cNvSpPr>
            <a:spLocks noGrp="1"/>
          </p:cNvSpPr>
          <p:nvPr>
            <p:ph type="body" sz="quarter" idx="15" hasCustomPrompt="1"/>
          </p:nvPr>
        </p:nvSpPr>
        <p:spPr>
          <a:xfrm>
            <a:off x="0" y="2340829"/>
            <a:ext cx="6084888" cy="3259506"/>
          </a:xfrm>
          <a:noFill/>
        </p:spPr>
        <p:txBody>
          <a:bodyPr lIns="360000" rIns="360000" bIns="360000">
            <a:noAutofit/>
          </a:bodyPr>
          <a:lstStyle>
            <a:lvl1pPr marL="228600" marR="0" indent="-228600" algn="l" defTabSz="914400" rtl="0" eaLnBrk="1" fontAlgn="auto" latinLnBrk="0" hangingPunct="1">
              <a:lnSpc>
                <a:spcPct val="120000"/>
              </a:lnSpc>
              <a:spcBef>
                <a:spcPts val="1200"/>
              </a:spcBef>
              <a:spcAft>
                <a:spcPts val="0"/>
              </a:spcAft>
              <a:buClr>
                <a:schemeClr val="accent1"/>
              </a:buClr>
              <a:buSzTx/>
              <a:buFont typeface="+mj-lt"/>
              <a:buAutoNum type="arabicPeriod"/>
              <a:tabLst/>
              <a:defRPr sz="1400">
                <a:solidFill>
                  <a:schemeClr val="tx1"/>
                </a:solidFill>
              </a:defRPr>
            </a:lvl1pPr>
          </a:lstStyle>
          <a:p>
            <a:pPr lvl="0"/>
            <a:r>
              <a:rPr lang="en-GB" dirty="0" err="1"/>
              <a:t>Loreum</a:t>
            </a:r>
            <a:r>
              <a:rPr lang="en-GB" dirty="0"/>
              <a:t> Ipsum is simply dummy text of the printing and typesetting industry.</a:t>
            </a:r>
          </a:p>
          <a:p>
            <a:pPr lvl="0"/>
            <a:r>
              <a:rPr lang="en-GB" dirty="0" err="1"/>
              <a:t>Loreum</a:t>
            </a:r>
            <a:r>
              <a:rPr lang="en-GB" dirty="0"/>
              <a:t> Ipsum has been the industry’s standard dummy text ever since the 1500s, when an unknown printer took a galley of type and scrambled it to make a type specimen book.</a:t>
            </a:r>
          </a:p>
          <a:p>
            <a:pPr lvl="0"/>
            <a:r>
              <a:rPr lang="en-GB" dirty="0" err="1"/>
              <a:t>Loreum</a:t>
            </a:r>
            <a:r>
              <a:rPr lang="en-GB" dirty="0"/>
              <a:t> Ipsum is simply dummy text of the printing and typesetting industry.</a:t>
            </a:r>
          </a:p>
          <a:p>
            <a:pPr marL="228600" marR="0" lvl="0" indent="-228600" algn="l" defTabSz="914400" rtl="0" eaLnBrk="1" fontAlgn="auto" latinLnBrk="0" hangingPunct="1">
              <a:lnSpc>
                <a:spcPct val="120000"/>
              </a:lnSpc>
              <a:spcBef>
                <a:spcPts val="1200"/>
              </a:spcBef>
              <a:spcAft>
                <a:spcPts val="0"/>
              </a:spcAft>
              <a:buClr>
                <a:schemeClr val="accent1"/>
              </a:buClr>
              <a:buSzTx/>
              <a:tabLst/>
              <a:defRPr/>
            </a:pPr>
            <a:r>
              <a:rPr lang="en-GB" dirty="0" err="1"/>
              <a:t>Loreum</a:t>
            </a:r>
            <a:r>
              <a:rPr lang="en-GB" dirty="0"/>
              <a:t> Ipsum has been the industry’s standard dummy text ever since the 1500s, when an unknown printer took a galley of type and scrambled it to make a type specimen book.</a:t>
            </a:r>
          </a:p>
          <a:p>
            <a:pPr lvl="0"/>
            <a:endParaRPr lang="en-GB" dirty="0"/>
          </a:p>
        </p:txBody>
      </p:sp>
      <p:sp>
        <p:nvSpPr>
          <p:cNvPr id="16" name="Slide Number Placeholder 15">
            <a:extLst>
              <a:ext uri="{FF2B5EF4-FFF2-40B4-BE49-F238E27FC236}">
                <a16:creationId xmlns:a16="http://schemas.microsoft.com/office/drawing/2014/main" id="{4CB311B2-A433-1D4D-B416-F795C00B32CE}"/>
              </a:ext>
            </a:extLst>
          </p:cNvPr>
          <p:cNvSpPr>
            <a:spLocks noGrp="1"/>
          </p:cNvSpPr>
          <p:nvPr>
            <p:ph type="sldNum" sz="quarter" idx="16"/>
          </p:nvPr>
        </p:nvSpPr>
        <p:spPr/>
        <p:txBody>
          <a:bodyPr/>
          <a:lstStyle/>
          <a:p>
            <a:fld id="{9A0F7689-66CB-EC4F-9B5C-9C3D3ED1F24F}" type="slidenum">
              <a:rPr lang="en-US" smtClean="0"/>
              <a:pPr/>
              <a:t>‹#›</a:t>
            </a:fld>
            <a:endParaRPr lang="en-US" dirty="0"/>
          </a:p>
        </p:txBody>
      </p:sp>
      <p:cxnSp>
        <p:nvCxnSpPr>
          <p:cNvPr id="20" name="Straight Connector 19">
            <a:extLst>
              <a:ext uri="{FF2B5EF4-FFF2-40B4-BE49-F238E27FC236}">
                <a16:creationId xmlns:a16="http://schemas.microsoft.com/office/drawing/2014/main" id="{212C4CEA-BB38-DB41-9697-6C66BA835207}"/>
              </a:ext>
            </a:extLst>
          </p:cNvPr>
          <p:cNvCxnSpPr>
            <a:cxnSpLocks/>
          </p:cNvCxnSpPr>
          <p:nvPr userDrawn="1"/>
        </p:nvCxnSpPr>
        <p:spPr>
          <a:xfrm flipV="1">
            <a:off x="352425" y="2168524"/>
            <a:ext cx="360000" cy="1"/>
          </a:xfrm>
          <a:prstGeom prst="line">
            <a:avLst/>
          </a:prstGeom>
          <a:ln w="412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0543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6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Photo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3A57AE-F575-8045-AA77-270E1E606BAD}"/>
              </a:ext>
            </a:extLst>
          </p:cNvPr>
          <p:cNvSpPr/>
          <p:nvPr userDrawn="1"/>
        </p:nvSpPr>
        <p:spPr>
          <a:xfrm>
            <a:off x="9193306" y="0"/>
            <a:ext cx="299869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Rectangle 1">
            <a:extLst>
              <a:ext uri="{FF2B5EF4-FFF2-40B4-BE49-F238E27FC236}">
                <a16:creationId xmlns:a16="http://schemas.microsoft.com/office/drawing/2014/main" id="{6594DA25-C784-7842-B9E7-159A55176936}"/>
              </a:ext>
            </a:extLst>
          </p:cNvPr>
          <p:cNvSpPr/>
          <p:nvPr userDrawn="1"/>
        </p:nvSpPr>
        <p:spPr>
          <a:xfrm>
            <a:off x="6107112" y="1134443"/>
            <a:ext cx="6084888" cy="4476648"/>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8" name="Text Placeholder 12">
            <a:extLst>
              <a:ext uri="{FF2B5EF4-FFF2-40B4-BE49-F238E27FC236}">
                <a16:creationId xmlns:a16="http://schemas.microsoft.com/office/drawing/2014/main" id="{5C872AD5-8C1C-1B4A-8B84-AE73DCF17E78}"/>
              </a:ext>
            </a:extLst>
          </p:cNvPr>
          <p:cNvSpPr>
            <a:spLocks noGrp="1"/>
          </p:cNvSpPr>
          <p:nvPr>
            <p:ph type="body" sz="quarter" idx="14" hasCustomPrompt="1"/>
          </p:nvPr>
        </p:nvSpPr>
        <p:spPr>
          <a:xfrm>
            <a:off x="6100800" y="1141368"/>
            <a:ext cx="6091200" cy="1200779"/>
          </a:xfrm>
          <a:noFill/>
        </p:spPr>
        <p:txBody>
          <a:bodyPr lIns="360000" tIns="360000" rIns="360000" bIns="360000" anchor="b" anchorCtr="0">
            <a:normAutofit/>
          </a:bodyPr>
          <a:lstStyle>
            <a:lvl1pPr marL="0" indent="0">
              <a:lnSpc>
                <a:spcPct val="100000"/>
              </a:lnSpc>
              <a:spcBef>
                <a:spcPts val="300"/>
              </a:spcBef>
              <a:buNone/>
              <a:defRPr sz="2200" b="1" i="0" spc="-150">
                <a:solidFill>
                  <a:schemeClr val="bg2"/>
                </a:solidFill>
                <a:latin typeface="Arial Black" panose="020B0604020202020204" pitchFamily="34" charset="0"/>
                <a:cs typeface="Arial Black" panose="020B0604020202020204" pitchFamily="34" charset="0"/>
              </a:defRPr>
            </a:lvl1pPr>
          </a:lstStyle>
          <a:p>
            <a:pPr lvl="0"/>
            <a:r>
              <a:rPr lang="en-US" dirty="0" err="1"/>
              <a:t>Loreum</a:t>
            </a:r>
            <a:r>
              <a:rPr lang="en-US" dirty="0"/>
              <a:t> Ipsum</a:t>
            </a:r>
          </a:p>
        </p:txBody>
      </p:sp>
      <p:sp>
        <p:nvSpPr>
          <p:cNvPr id="8" name="Text Placeholder 7">
            <a:extLst>
              <a:ext uri="{FF2B5EF4-FFF2-40B4-BE49-F238E27FC236}">
                <a16:creationId xmlns:a16="http://schemas.microsoft.com/office/drawing/2014/main" id="{F830BF3E-8EC4-134A-B454-E5DADCD9A878}"/>
              </a:ext>
            </a:extLst>
          </p:cNvPr>
          <p:cNvSpPr>
            <a:spLocks noGrp="1"/>
          </p:cNvSpPr>
          <p:nvPr>
            <p:ph type="body" sz="quarter" idx="15" hasCustomPrompt="1"/>
          </p:nvPr>
        </p:nvSpPr>
        <p:spPr>
          <a:xfrm>
            <a:off x="6107112" y="2340829"/>
            <a:ext cx="6084888" cy="3259506"/>
          </a:xfrm>
          <a:noFill/>
        </p:spPr>
        <p:txBody>
          <a:bodyPr lIns="360000" rIns="360000" bIns="360000">
            <a:noAutofit/>
          </a:bodyPr>
          <a:lstStyle>
            <a:lvl1pPr marL="228600" marR="0" indent="-228600" algn="l" defTabSz="914400" rtl="0" eaLnBrk="1" fontAlgn="auto" latinLnBrk="0" hangingPunct="1">
              <a:lnSpc>
                <a:spcPct val="120000"/>
              </a:lnSpc>
              <a:spcBef>
                <a:spcPts val="1200"/>
              </a:spcBef>
              <a:spcAft>
                <a:spcPts val="0"/>
              </a:spcAft>
              <a:buClr>
                <a:schemeClr val="accent1"/>
              </a:buClr>
              <a:buSzTx/>
              <a:buFont typeface="+mj-lt"/>
              <a:buAutoNum type="arabicPeriod"/>
              <a:tabLst/>
              <a:defRPr sz="1400">
                <a:solidFill>
                  <a:schemeClr val="bg2"/>
                </a:solidFill>
              </a:defRPr>
            </a:lvl1pPr>
          </a:lstStyle>
          <a:p>
            <a:pPr lvl="0"/>
            <a:r>
              <a:rPr lang="en-GB" dirty="0" err="1"/>
              <a:t>Loreum</a:t>
            </a:r>
            <a:r>
              <a:rPr lang="en-GB" dirty="0"/>
              <a:t> Ipsum is simply dummy text of the printing and typesetting industry.</a:t>
            </a:r>
          </a:p>
          <a:p>
            <a:pPr lvl="0"/>
            <a:r>
              <a:rPr lang="en-GB" dirty="0" err="1"/>
              <a:t>Loreum</a:t>
            </a:r>
            <a:r>
              <a:rPr lang="en-GB" dirty="0"/>
              <a:t> Ipsum has been the industry’s standard dummy text ever since the 1500s, when an unknown printer took a galley of type and scrambled it to make a type specimen book.</a:t>
            </a:r>
          </a:p>
          <a:p>
            <a:pPr lvl="0"/>
            <a:r>
              <a:rPr lang="en-GB" dirty="0" err="1"/>
              <a:t>Loreum</a:t>
            </a:r>
            <a:r>
              <a:rPr lang="en-GB" dirty="0"/>
              <a:t> Ipsum is simply dummy text of the printing and typesetting industry.</a:t>
            </a:r>
          </a:p>
          <a:p>
            <a:pPr marL="228600" marR="0" lvl="0" indent="-228600" algn="l" defTabSz="914400" rtl="0" eaLnBrk="1" fontAlgn="auto" latinLnBrk="0" hangingPunct="1">
              <a:lnSpc>
                <a:spcPct val="120000"/>
              </a:lnSpc>
              <a:spcBef>
                <a:spcPts val="1200"/>
              </a:spcBef>
              <a:spcAft>
                <a:spcPts val="0"/>
              </a:spcAft>
              <a:buClr>
                <a:schemeClr val="accent1"/>
              </a:buClr>
              <a:buSzTx/>
              <a:tabLst/>
              <a:defRPr/>
            </a:pPr>
            <a:r>
              <a:rPr lang="en-GB" dirty="0" err="1"/>
              <a:t>Loreum</a:t>
            </a:r>
            <a:r>
              <a:rPr lang="en-GB" dirty="0"/>
              <a:t> Ipsum has been the industry’s standard dummy text ever since the 1500s, when an unknown printer took a galley of type and scrambled it to make a type specimen book.</a:t>
            </a:r>
          </a:p>
          <a:p>
            <a:pPr lvl="0"/>
            <a:endParaRPr lang="en-GB" dirty="0"/>
          </a:p>
        </p:txBody>
      </p:sp>
      <p:sp>
        <p:nvSpPr>
          <p:cNvPr id="16" name="Slide Number Placeholder 15">
            <a:extLst>
              <a:ext uri="{FF2B5EF4-FFF2-40B4-BE49-F238E27FC236}">
                <a16:creationId xmlns:a16="http://schemas.microsoft.com/office/drawing/2014/main" id="{4CB311B2-A433-1D4D-B416-F795C00B32CE}"/>
              </a:ext>
            </a:extLst>
          </p:cNvPr>
          <p:cNvSpPr>
            <a:spLocks noGrp="1"/>
          </p:cNvSpPr>
          <p:nvPr>
            <p:ph type="sldNum" sz="quarter" idx="16"/>
          </p:nvPr>
        </p:nvSpPr>
        <p:spPr/>
        <p:txBody>
          <a:bodyPr/>
          <a:lstStyle/>
          <a:p>
            <a:fld id="{9A0F7689-66CB-EC4F-9B5C-9C3D3ED1F24F}" type="slidenum">
              <a:rPr lang="en-US" smtClean="0"/>
              <a:pPr/>
              <a:t>‹#›</a:t>
            </a:fld>
            <a:endParaRPr lang="en-US" dirty="0"/>
          </a:p>
        </p:txBody>
      </p:sp>
      <p:cxnSp>
        <p:nvCxnSpPr>
          <p:cNvPr id="20" name="Straight Connector 19">
            <a:extLst>
              <a:ext uri="{FF2B5EF4-FFF2-40B4-BE49-F238E27FC236}">
                <a16:creationId xmlns:a16="http://schemas.microsoft.com/office/drawing/2014/main" id="{212C4CEA-BB38-DB41-9697-6C66BA835207}"/>
              </a:ext>
            </a:extLst>
          </p:cNvPr>
          <p:cNvCxnSpPr>
            <a:cxnSpLocks/>
          </p:cNvCxnSpPr>
          <p:nvPr userDrawn="1"/>
        </p:nvCxnSpPr>
        <p:spPr>
          <a:xfrm flipV="1">
            <a:off x="6459537" y="2168524"/>
            <a:ext cx="360000" cy="1"/>
          </a:xfrm>
          <a:prstGeom prst="line">
            <a:avLst/>
          </a:prstGeom>
          <a:ln w="412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203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36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 with text colo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01BD50-6672-5F42-9598-5DEFB2038E22}"/>
              </a:ext>
            </a:extLst>
          </p:cNvPr>
          <p:cNvSpPr/>
          <p:nvPr userDrawn="1"/>
        </p:nvSpPr>
        <p:spPr>
          <a:xfrm>
            <a:off x="360000" y="1794511"/>
            <a:ext cx="5631224" cy="4480166"/>
          </a:xfrm>
          <a:prstGeom prst="rect">
            <a:avLst/>
          </a:prstGeom>
          <a:solidFill>
            <a:schemeClr val="bg2"/>
          </a:solidFill>
          <a:ln>
            <a:noFill/>
          </a:ln>
          <a:effectLst>
            <a:outerShdw dist="25400" dir="5400000" algn="ctr"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7" name="Rectangle 26">
            <a:extLst>
              <a:ext uri="{FF2B5EF4-FFF2-40B4-BE49-F238E27FC236}">
                <a16:creationId xmlns:a16="http://schemas.microsoft.com/office/drawing/2014/main" id="{95E85C39-AE1E-3343-ABB1-A9F168C964EA}"/>
              </a:ext>
            </a:extLst>
          </p:cNvPr>
          <p:cNvSpPr/>
          <p:nvPr userDrawn="1"/>
        </p:nvSpPr>
        <p:spPr>
          <a:xfrm>
            <a:off x="6169025" y="1794511"/>
            <a:ext cx="5664175" cy="4480166"/>
          </a:xfrm>
          <a:prstGeom prst="rect">
            <a:avLst/>
          </a:prstGeom>
          <a:solidFill>
            <a:schemeClr val="bg2"/>
          </a:solidFill>
          <a:ln>
            <a:noFill/>
          </a:ln>
          <a:effectLst>
            <a:outerShdw dist="25400" dir="5400000" algn="ctr"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59999" y="1805939"/>
            <a:ext cx="5631225" cy="4395163"/>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9" name="Content Placeholder 2">
            <a:extLst>
              <a:ext uri="{FF2B5EF4-FFF2-40B4-BE49-F238E27FC236}">
                <a16:creationId xmlns:a16="http://schemas.microsoft.com/office/drawing/2014/main" id="{EB45D105-92A9-864C-8043-3CF104186BF2}"/>
              </a:ext>
            </a:extLst>
          </p:cNvPr>
          <p:cNvSpPr>
            <a:spLocks noGrp="1"/>
          </p:cNvSpPr>
          <p:nvPr>
            <p:ph sz="half" idx="16" hasCustomPrompt="1"/>
          </p:nvPr>
        </p:nvSpPr>
        <p:spPr>
          <a:xfrm>
            <a:off x="6169025" y="1805939"/>
            <a:ext cx="5664175" cy="4395163"/>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lang="en-US"/>
            </a:lvl1pPr>
          </a:lstStyle>
          <a:p>
            <a:r>
              <a:rPr lang="en-US"/>
              <a:t>Slide title (keep it short)</a:t>
            </a:r>
          </a:p>
        </p:txBody>
      </p:sp>
      <p:sp>
        <p:nvSpPr>
          <p:cNvPr id="5" name="Slide Number Placeholder 4">
            <a:extLst>
              <a:ext uri="{FF2B5EF4-FFF2-40B4-BE49-F238E27FC236}">
                <a16:creationId xmlns:a16="http://schemas.microsoft.com/office/drawing/2014/main" id="{AB3A5C24-8C28-5648-8B2A-CF4918741A6B}"/>
              </a:ext>
            </a:extLst>
          </p:cNvPr>
          <p:cNvSpPr>
            <a:spLocks noGrp="1"/>
          </p:cNvSpPr>
          <p:nvPr>
            <p:ph type="sldNum" sz="quarter" idx="12"/>
          </p:nvPr>
        </p:nvSpPr>
        <p:spPr/>
        <p:txBody>
          <a:bodyPr/>
          <a:lstStyle>
            <a:lvl1pPr>
              <a:defRPr lang="en-US" smtClean="0"/>
            </a:lvl1pPr>
          </a:lstStyle>
          <a:p>
            <a:fld id="{9A0F7689-66CB-EC4F-9B5C-9C3D3ED1F24F}" type="slidenum">
              <a:rPr lang="en-US" smtClean="0"/>
              <a:pPr/>
              <a:t>‹#›</a:t>
            </a:fld>
            <a:endParaRPr lang="en-US" dirty="0"/>
          </a:p>
        </p:txBody>
      </p:sp>
      <p:sp>
        <p:nvSpPr>
          <p:cNvPr id="9" name="Rectangle 8">
            <a:extLst>
              <a:ext uri="{FF2B5EF4-FFF2-40B4-BE49-F238E27FC236}">
                <a16:creationId xmlns:a16="http://schemas.microsoft.com/office/drawing/2014/main" id="{F2622DAE-BF1D-384E-A074-E04E016B653F}"/>
              </a:ext>
            </a:extLst>
          </p:cNvPr>
          <p:cNvSpPr/>
          <p:nvPr userDrawn="1"/>
        </p:nvSpPr>
        <p:spPr>
          <a:xfrm>
            <a:off x="359999" y="1066800"/>
            <a:ext cx="5631225"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1" name="Text Placeholder 10">
            <a:extLst>
              <a:ext uri="{FF2B5EF4-FFF2-40B4-BE49-F238E27FC236}">
                <a16:creationId xmlns:a16="http://schemas.microsoft.com/office/drawing/2014/main" id="{6D664640-547A-1546-85F0-A70E26E77912}"/>
              </a:ext>
            </a:extLst>
          </p:cNvPr>
          <p:cNvSpPr>
            <a:spLocks noGrp="1"/>
          </p:cNvSpPr>
          <p:nvPr>
            <p:ph type="body" sz="quarter" idx="13"/>
          </p:nvPr>
        </p:nvSpPr>
        <p:spPr>
          <a:xfrm>
            <a:off x="360000" y="1073150"/>
            <a:ext cx="5631224"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30" name="Rectangle 29">
            <a:extLst>
              <a:ext uri="{FF2B5EF4-FFF2-40B4-BE49-F238E27FC236}">
                <a16:creationId xmlns:a16="http://schemas.microsoft.com/office/drawing/2014/main" id="{4061CD80-DC6E-8A4D-9B59-B6944943BECB}"/>
              </a:ext>
            </a:extLst>
          </p:cNvPr>
          <p:cNvSpPr/>
          <p:nvPr userDrawn="1"/>
        </p:nvSpPr>
        <p:spPr>
          <a:xfrm>
            <a:off x="6169025" y="1066800"/>
            <a:ext cx="5664175"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1" name="Text Placeholder 10">
            <a:extLst>
              <a:ext uri="{FF2B5EF4-FFF2-40B4-BE49-F238E27FC236}">
                <a16:creationId xmlns:a16="http://schemas.microsoft.com/office/drawing/2014/main" id="{98006BC5-7891-0A4F-B347-6A117F1DCBC0}"/>
              </a:ext>
            </a:extLst>
          </p:cNvPr>
          <p:cNvSpPr>
            <a:spLocks noGrp="1"/>
          </p:cNvSpPr>
          <p:nvPr>
            <p:ph type="body" sz="quarter" idx="17"/>
          </p:nvPr>
        </p:nvSpPr>
        <p:spPr>
          <a:xfrm>
            <a:off x="6169025" y="1073150"/>
            <a:ext cx="5664175"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16292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74">
          <p15:clr>
            <a:srgbClr val="FBAE40"/>
          </p15:clr>
        </p15:guide>
        <p15:guide id="2" pos="388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2 column with text colo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01BD50-6672-5F42-9598-5DEFB2038E22}"/>
              </a:ext>
            </a:extLst>
          </p:cNvPr>
          <p:cNvSpPr/>
          <p:nvPr userDrawn="1"/>
        </p:nvSpPr>
        <p:spPr>
          <a:xfrm>
            <a:off x="360000" y="1794511"/>
            <a:ext cx="5631224" cy="4480166"/>
          </a:xfrm>
          <a:prstGeom prst="rect">
            <a:avLst/>
          </a:prstGeom>
          <a:solidFill>
            <a:schemeClr val="bg2"/>
          </a:solidFill>
          <a:ln>
            <a:noFill/>
          </a:ln>
          <a:effectLst>
            <a:outerShdw dist="25400" dir="5400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dirty="0"/>
          </a:p>
        </p:txBody>
      </p:sp>
      <p:sp>
        <p:nvSpPr>
          <p:cNvPr id="27" name="Rectangle 26">
            <a:extLst>
              <a:ext uri="{FF2B5EF4-FFF2-40B4-BE49-F238E27FC236}">
                <a16:creationId xmlns:a16="http://schemas.microsoft.com/office/drawing/2014/main" id="{95E85C39-AE1E-3343-ABB1-A9F168C964EA}"/>
              </a:ext>
            </a:extLst>
          </p:cNvPr>
          <p:cNvSpPr/>
          <p:nvPr userDrawn="1"/>
        </p:nvSpPr>
        <p:spPr>
          <a:xfrm>
            <a:off x="6169025" y="1794511"/>
            <a:ext cx="5664175" cy="4480166"/>
          </a:xfrm>
          <a:prstGeom prst="rect">
            <a:avLst/>
          </a:prstGeom>
          <a:solidFill>
            <a:schemeClr val="bg2"/>
          </a:solidFill>
          <a:ln>
            <a:noFill/>
          </a:ln>
          <a:effectLst>
            <a:outerShdw dist="25400" dir="5400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59999" y="1805939"/>
            <a:ext cx="5631225" cy="4395163"/>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9" name="Content Placeholder 2">
            <a:extLst>
              <a:ext uri="{FF2B5EF4-FFF2-40B4-BE49-F238E27FC236}">
                <a16:creationId xmlns:a16="http://schemas.microsoft.com/office/drawing/2014/main" id="{EB45D105-92A9-864C-8043-3CF104186BF2}"/>
              </a:ext>
            </a:extLst>
          </p:cNvPr>
          <p:cNvSpPr>
            <a:spLocks noGrp="1"/>
          </p:cNvSpPr>
          <p:nvPr>
            <p:ph sz="half" idx="16" hasCustomPrompt="1"/>
          </p:nvPr>
        </p:nvSpPr>
        <p:spPr>
          <a:xfrm>
            <a:off x="6169025" y="1805939"/>
            <a:ext cx="5664175" cy="4395163"/>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lang="en-US"/>
            </a:lvl1pPr>
          </a:lstStyle>
          <a:p>
            <a:r>
              <a:rPr lang="en-US"/>
              <a:t>Slide title (keep it short)</a:t>
            </a:r>
          </a:p>
        </p:txBody>
      </p:sp>
      <p:sp>
        <p:nvSpPr>
          <p:cNvPr id="5" name="Slide Number Placeholder 4">
            <a:extLst>
              <a:ext uri="{FF2B5EF4-FFF2-40B4-BE49-F238E27FC236}">
                <a16:creationId xmlns:a16="http://schemas.microsoft.com/office/drawing/2014/main" id="{AB3A5C24-8C28-5648-8B2A-CF4918741A6B}"/>
              </a:ext>
            </a:extLst>
          </p:cNvPr>
          <p:cNvSpPr>
            <a:spLocks noGrp="1"/>
          </p:cNvSpPr>
          <p:nvPr>
            <p:ph type="sldNum" sz="quarter" idx="12"/>
          </p:nvPr>
        </p:nvSpPr>
        <p:spPr/>
        <p:txBody>
          <a:bodyPr/>
          <a:lstStyle>
            <a:lvl1pPr>
              <a:defRPr lang="en-US" smtClean="0"/>
            </a:lvl1pPr>
          </a:lstStyle>
          <a:p>
            <a:fld id="{9A0F7689-66CB-EC4F-9B5C-9C3D3ED1F24F}" type="slidenum">
              <a:rPr lang="en-US" smtClean="0"/>
              <a:pPr/>
              <a:t>‹#›</a:t>
            </a:fld>
            <a:endParaRPr lang="en-US" dirty="0"/>
          </a:p>
        </p:txBody>
      </p:sp>
      <p:sp>
        <p:nvSpPr>
          <p:cNvPr id="9" name="Rectangle 8">
            <a:extLst>
              <a:ext uri="{FF2B5EF4-FFF2-40B4-BE49-F238E27FC236}">
                <a16:creationId xmlns:a16="http://schemas.microsoft.com/office/drawing/2014/main" id="{F2622DAE-BF1D-384E-A074-E04E016B653F}"/>
              </a:ext>
            </a:extLst>
          </p:cNvPr>
          <p:cNvSpPr/>
          <p:nvPr userDrawn="1"/>
        </p:nvSpPr>
        <p:spPr>
          <a:xfrm>
            <a:off x="359999" y="1066800"/>
            <a:ext cx="5631225" cy="7308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1" name="Text Placeholder 10">
            <a:extLst>
              <a:ext uri="{FF2B5EF4-FFF2-40B4-BE49-F238E27FC236}">
                <a16:creationId xmlns:a16="http://schemas.microsoft.com/office/drawing/2014/main" id="{6D664640-547A-1546-85F0-A70E26E77912}"/>
              </a:ext>
            </a:extLst>
          </p:cNvPr>
          <p:cNvSpPr>
            <a:spLocks noGrp="1"/>
          </p:cNvSpPr>
          <p:nvPr>
            <p:ph type="body" sz="quarter" idx="13"/>
          </p:nvPr>
        </p:nvSpPr>
        <p:spPr>
          <a:xfrm>
            <a:off x="360000" y="1073150"/>
            <a:ext cx="5631224"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30" name="Rectangle 29">
            <a:extLst>
              <a:ext uri="{FF2B5EF4-FFF2-40B4-BE49-F238E27FC236}">
                <a16:creationId xmlns:a16="http://schemas.microsoft.com/office/drawing/2014/main" id="{4061CD80-DC6E-8A4D-9B59-B6944943BECB}"/>
              </a:ext>
            </a:extLst>
          </p:cNvPr>
          <p:cNvSpPr/>
          <p:nvPr userDrawn="1"/>
        </p:nvSpPr>
        <p:spPr>
          <a:xfrm>
            <a:off x="6169025" y="1066800"/>
            <a:ext cx="5664175" cy="7308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1" name="Text Placeholder 10">
            <a:extLst>
              <a:ext uri="{FF2B5EF4-FFF2-40B4-BE49-F238E27FC236}">
                <a16:creationId xmlns:a16="http://schemas.microsoft.com/office/drawing/2014/main" id="{98006BC5-7891-0A4F-B347-6A117F1DCBC0}"/>
              </a:ext>
            </a:extLst>
          </p:cNvPr>
          <p:cNvSpPr>
            <a:spLocks noGrp="1"/>
          </p:cNvSpPr>
          <p:nvPr>
            <p:ph type="body" sz="quarter" idx="17"/>
          </p:nvPr>
        </p:nvSpPr>
        <p:spPr>
          <a:xfrm>
            <a:off x="6169025" y="1073150"/>
            <a:ext cx="5664175"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324089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74">
          <p15:clr>
            <a:srgbClr val="FBAE40"/>
          </p15:clr>
        </p15:guide>
        <p15:guide id="2" pos="388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with text colo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901BD50-6672-5F42-9598-5DEFB2038E22}"/>
              </a:ext>
            </a:extLst>
          </p:cNvPr>
          <p:cNvSpPr/>
          <p:nvPr userDrawn="1"/>
        </p:nvSpPr>
        <p:spPr>
          <a:xfrm>
            <a:off x="360000" y="1794510"/>
            <a:ext cx="5631224" cy="45142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7" name="Rectangle 26">
            <a:extLst>
              <a:ext uri="{FF2B5EF4-FFF2-40B4-BE49-F238E27FC236}">
                <a16:creationId xmlns:a16="http://schemas.microsoft.com/office/drawing/2014/main" id="{95E85C39-AE1E-3343-ABB1-A9F168C964EA}"/>
              </a:ext>
            </a:extLst>
          </p:cNvPr>
          <p:cNvSpPr/>
          <p:nvPr userDrawn="1"/>
        </p:nvSpPr>
        <p:spPr>
          <a:xfrm>
            <a:off x="6169025" y="1794510"/>
            <a:ext cx="5664175" cy="45142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59999" y="1805940"/>
            <a:ext cx="5631225" cy="3794760"/>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9" name="Content Placeholder 2">
            <a:extLst>
              <a:ext uri="{FF2B5EF4-FFF2-40B4-BE49-F238E27FC236}">
                <a16:creationId xmlns:a16="http://schemas.microsoft.com/office/drawing/2014/main" id="{EB45D105-92A9-864C-8043-3CF104186BF2}"/>
              </a:ext>
            </a:extLst>
          </p:cNvPr>
          <p:cNvSpPr>
            <a:spLocks noGrp="1"/>
          </p:cNvSpPr>
          <p:nvPr>
            <p:ph sz="half" idx="16" hasCustomPrompt="1"/>
          </p:nvPr>
        </p:nvSpPr>
        <p:spPr>
          <a:xfrm>
            <a:off x="6169025" y="1805940"/>
            <a:ext cx="5664175" cy="3794760"/>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lang="en-US"/>
            </a:lvl1pPr>
          </a:lstStyle>
          <a:p>
            <a:r>
              <a:rPr lang="en-US"/>
              <a:t>Slide title (keep it short)</a:t>
            </a:r>
          </a:p>
        </p:txBody>
      </p:sp>
      <p:sp>
        <p:nvSpPr>
          <p:cNvPr id="5" name="Slide Number Placeholder 4">
            <a:extLst>
              <a:ext uri="{FF2B5EF4-FFF2-40B4-BE49-F238E27FC236}">
                <a16:creationId xmlns:a16="http://schemas.microsoft.com/office/drawing/2014/main" id="{AB3A5C24-8C28-5648-8B2A-CF4918741A6B}"/>
              </a:ext>
            </a:extLst>
          </p:cNvPr>
          <p:cNvSpPr>
            <a:spLocks noGrp="1"/>
          </p:cNvSpPr>
          <p:nvPr>
            <p:ph type="sldNum" sz="quarter" idx="12"/>
          </p:nvPr>
        </p:nvSpPr>
        <p:spPr/>
        <p:txBody>
          <a:bodyPr/>
          <a:lstStyle>
            <a:lvl1pPr>
              <a:defRPr lang="en-US" smtClean="0"/>
            </a:lvl1pPr>
          </a:lstStyle>
          <a:p>
            <a:fld id="{9A0F7689-66CB-EC4F-9B5C-9C3D3ED1F24F}" type="slidenum">
              <a:rPr lang="en-US" smtClean="0"/>
              <a:pPr/>
              <a:t>‹#›</a:t>
            </a:fld>
            <a:endParaRPr lang="en-US" dirty="0"/>
          </a:p>
        </p:txBody>
      </p:sp>
      <p:sp>
        <p:nvSpPr>
          <p:cNvPr id="8" name="Rectangle 7">
            <a:extLst>
              <a:ext uri="{FF2B5EF4-FFF2-40B4-BE49-F238E27FC236}">
                <a16:creationId xmlns:a16="http://schemas.microsoft.com/office/drawing/2014/main" id="{4A08D850-70D9-AC47-AF04-2B536323FD44}"/>
              </a:ext>
            </a:extLst>
          </p:cNvPr>
          <p:cNvSpPr/>
          <p:nvPr userDrawn="1"/>
        </p:nvSpPr>
        <p:spPr>
          <a:xfrm>
            <a:off x="359999" y="5577840"/>
            <a:ext cx="5631225"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9" name="Rectangle 8">
            <a:extLst>
              <a:ext uri="{FF2B5EF4-FFF2-40B4-BE49-F238E27FC236}">
                <a16:creationId xmlns:a16="http://schemas.microsoft.com/office/drawing/2014/main" id="{F2622DAE-BF1D-384E-A074-E04E016B653F}"/>
              </a:ext>
            </a:extLst>
          </p:cNvPr>
          <p:cNvSpPr/>
          <p:nvPr userDrawn="1"/>
        </p:nvSpPr>
        <p:spPr>
          <a:xfrm>
            <a:off x="359999" y="1066800"/>
            <a:ext cx="5631225"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1" name="Text Placeholder 10">
            <a:extLst>
              <a:ext uri="{FF2B5EF4-FFF2-40B4-BE49-F238E27FC236}">
                <a16:creationId xmlns:a16="http://schemas.microsoft.com/office/drawing/2014/main" id="{6D664640-547A-1546-85F0-A70E26E77912}"/>
              </a:ext>
            </a:extLst>
          </p:cNvPr>
          <p:cNvSpPr>
            <a:spLocks noGrp="1"/>
          </p:cNvSpPr>
          <p:nvPr>
            <p:ph type="body" sz="quarter" idx="13"/>
          </p:nvPr>
        </p:nvSpPr>
        <p:spPr>
          <a:xfrm>
            <a:off x="360000" y="1073150"/>
            <a:ext cx="5631224"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28" name="Rectangle 27">
            <a:extLst>
              <a:ext uri="{FF2B5EF4-FFF2-40B4-BE49-F238E27FC236}">
                <a16:creationId xmlns:a16="http://schemas.microsoft.com/office/drawing/2014/main" id="{303821D9-D653-0C4E-A2B1-F03471549B9F}"/>
              </a:ext>
            </a:extLst>
          </p:cNvPr>
          <p:cNvSpPr/>
          <p:nvPr userDrawn="1"/>
        </p:nvSpPr>
        <p:spPr>
          <a:xfrm>
            <a:off x="6169025" y="5577840"/>
            <a:ext cx="5664175"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0" name="Rectangle 29">
            <a:extLst>
              <a:ext uri="{FF2B5EF4-FFF2-40B4-BE49-F238E27FC236}">
                <a16:creationId xmlns:a16="http://schemas.microsoft.com/office/drawing/2014/main" id="{4061CD80-DC6E-8A4D-9B59-B6944943BECB}"/>
              </a:ext>
            </a:extLst>
          </p:cNvPr>
          <p:cNvSpPr/>
          <p:nvPr userDrawn="1"/>
        </p:nvSpPr>
        <p:spPr>
          <a:xfrm>
            <a:off x="6169025" y="1066800"/>
            <a:ext cx="5664175"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1" name="Text Placeholder 10">
            <a:extLst>
              <a:ext uri="{FF2B5EF4-FFF2-40B4-BE49-F238E27FC236}">
                <a16:creationId xmlns:a16="http://schemas.microsoft.com/office/drawing/2014/main" id="{98006BC5-7891-0A4F-B347-6A117F1DCBC0}"/>
              </a:ext>
            </a:extLst>
          </p:cNvPr>
          <p:cNvSpPr>
            <a:spLocks noGrp="1"/>
          </p:cNvSpPr>
          <p:nvPr>
            <p:ph type="body" sz="quarter" idx="17"/>
          </p:nvPr>
        </p:nvSpPr>
        <p:spPr>
          <a:xfrm>
            <a:off x="6169025" y="1073150"/>
            <a:ext cx="5664175"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3419784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74">
          <p15:clr>
            <a:srgbClr val="FBAE40"/>
          </p15:clr>
        </p15:guide>
        <p15:guide id="2" pos="388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3 column with text colo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lang="en-US"/>
            </a:lvl1pPr>
          </a:lstStyle>
          <a:p>
            <a:r>
              <a:rPr lang="en-US"/>
              <a:t>Slide title (keep it short)</a:t>
            </a:r>
          </a:p>
        </p:txBody>
      </p:sp>
      <p:sp>
        <p:nvSpPr>
          <p:cNvPr id="5" name="Slide Number Placeholder 4">
            <a:extLst>
              <a:ext uri="{FF2B5EF4-FFF2-40B4-BE49-F238E27FC236}">
                <a16:creationId xmlns:a16="http://schemas.microsoft.com/office/drawing/2014/main" id="{AB3A5C24-8C28-5648-8B2A-CF4918741A6B}"/>
              </a:ext>
            </a:extLst>
          </p:cNvPr>
          <p:cNvSpPr>
            <a:spLocks noGrp="1"/>
          </p:cNvSpPr>
          <p:nvPr>
            <p:ph type="sldNum" sz="quarter" idx="12"/>
          </p:nvPr>
        </p:nvSpPr>
        <p:spPr/>
        <p:txBody>
          <a:bodyPr/>
          <a:lstStyle>
            <a:lvl1pPr>
              <a:defRPr lang="en-US" smtClean="0"/>
            </a:lvl1pPr>
          </a:lstStyle>
          <a:p>
            <a:fld id="{9A0F7689-66CB-EC4F-9B5C-9C3D3ED1F24F}" type="slidenum">
              <a:rPr lang="en-US" smtClean="0"/>
              <a:pPr/>
              <a:t>‹#›</a:t>
            </a:fld>
            <a:endParaRPr lang="en-US" dirty="0"/>
          </a:p>
        </p:txBody>
      </p:sp>
      <p:sp>
        <p:nvSpPr>
          <p:cNvPr id="6" name="Rectangle 5">
            <a:extLst>
              <a:ext uri="{FF2B5EF4-FFF2-40B4-BE49-F238E27FC236}">
                <a16:creationId xmlns:a16="http://schemas.microsoft.com/office/drawing/2014/main" id="{0901BD50-6672-5F42-9598-5DEFB2038E22}"/>
              </a:ext>
            </a:extLst>
          </p:cNvPr>
          <p:cNvSpPr/>
          <p:nvPr userDrawn="1"/>
        </p:nvSpPr>
        <p:spPr>
          <a:xfrm>
            <a:off x="360000" y="1794510"/>
            <a:ext cx="3693600" cy="45142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8" name="Rectangle 7">
            <a:extLst>
              <a:ext uri="{FF2B5EF4-FFF2-40B4-BE49-F238E27FC236}">
                <a16:creationId xmlns:a16="http://schemas.microsoft.com/office/drawing/2014/main" id="{4A08D850-70D9-AC47-AF04-2B536323FD44}"/>
              </a:ext>
            </a:extLst>
          </p:cNvPr>
          <p:cNvSpPr/>
          <p:nvPr userDrawn="1"/>
        </p:nvSpPr>
        <p:spPr>
          <a:xfrm>
            <a:off x="360000" y="5577840"/>
            <a:ext cx="36936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805940"/>
            <a:ext cx="3693600" cy="3794760"/>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9" name="Rectangle 8">
            <a:extLst>
              <a:ext uri="{FF2B5EF4-FFF2-40B4-BE49-F238E27FC236}">
                <a16:creationId xmlns:a16="http://schemas.microsoft.com/office/drawing/2014/main" id="{F2622DAE-BF1D-384E-A074-E04E016B653F}"/>
              </a:ext>
            </a:extLst>
          </p:cNvPr>
          <p:cNvSpPr/>
          <p:nvPr userDrawn="1"/>
        </p:nvSpPr>
        <p:spPr>
          <a:xfrm>
            <a:off x="360000" y="1066800"/>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1" name="Text Placeholder 10">
            <a:extLst>
              <a:ext uri="{FF2B5EF4-FFF2-40B4-BE49-F238E27FC236}">
                <a16:creationId xmlns:a16="http://schemas.microsoft.com/office/drawing/2014/main" id="{6D664640-547A-1546-85F0-A70E26E77912}"/>
              </a:ext>
            </a:extLst>
          </p:cNvPr>
          <p:cNvSpPr>
            <a:spLocks noGrp="1"/>
          </p:cNvSpPr>
          <p:nvPr>
            <p:ph type="body" sz="quarter" idx="13"/>
          </p:nvPr>
        </p:nvSpPr>
        <p:spPr>
          <a:xfrm>
            <a:off x="360000" y="1073150"/>
            <a:ext cx="3693600"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22" name="Rectangle 21">
            <a:extLst>
              <a:ext uri="{FF2B5EF4-FFF2-40B4-BE49-F238E27FC236}">
                <a16:creationId xmlns:a16="http://schemas.microsoft.com/office/drawing/2014/main" id="{DDDE583F-16A0-D542-A84D-254662109EC1}"/>
              </a:ext>
            </a:extLst>
          </p:cNvPr>
          <p:cNvSpPr/>
          <p:nvPr userDrawn="1"/>
        </p:nvSpPr>
        <p:spPr>
          <a:xfrm>
            <a:off x="4248000" y="1794510"/>
            <a:ext cx="3693600" cy="45142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3" name="Rectangle 22">
            <a:extLst>
              <a:ext uri="{FF2B5EF4-FFF2-40B4-BE49-F238E27FC236}">
                <a16:creationId xmlns:a16="http://schemas.microsoft.com/office/drawing/2014/main" id="{09085468-25D7-7B41-AC08-5DD4ECFB8FE8}"/>
              </a:ext>
            </a:extLst>
          </p:cNvPr>
          <p:cNvSpPr/>
          <p:nvPr userDrawn="1"/>
        </p:nvSpPr>
        <p:spPr>
          <a:xfrm>
            <a:off x="4248000" y="5577840"/>
            <a:ext cx="36936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4" name="Content Placeholder 2">
            <a:extLst>
              <a:ext uri="{FF2B5EF4-FFF2-40B4-BE49-F238E27FC236}">
                <a16:creationId xmlns:a16="http://schemas.microsoft.com/office/drawing/2014/main" id="{99024C98-2974-5C4B-B596-477BEAEC5E72}"/>
              </a:ext>
            </a:extLst>
          </p:cNvPr>
          <p:cNvSpPr>
            <a:spLocks noGrp="1"/>
          </p:cNvSpPr>
          <p:nvPr>
            <p:ph sz="half" idx="14" hasCustomPrompt="1"/>
          </p:nvPr>
        </p:nvSpPr>
        <p:spPr>
          <a:xfrm>
            <a:off x="4248000" y="1805940"/>
            <a:ext cx="3693600" cy="3794760"/>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25" name="Rectangle 24">
            <a:extLst>
              <a:ext uri="{FF2B5EF4-FFF2-40B4-BE49-F238E27FC236}">
                <a16:creationId xmlns:a16="http://schemas.microsoft.com/office/drawing/2014/main" id="{10D6B004-431C-3044-B879-4C714DA1D1D4}"/>
              </a:ext>
            </a:extLst>
          </p:cNvPr>
          <p:cNvSpPr/>
          <p:nvPr userDrawn="1"/>
        </p:nvSpPr>
        <p:spPr>
          <a:xfrm>
            <a:off x="4248000" y="1066800"/>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6" name="Text Placeholder 10">
            <a:extLst>
              <a:ext uri="{FF2B5EF4-FFF2-40B4-BE49-F238E27FC236}">
                <a16:creationId xmlns:a16="http://schemas.microsoft.com/office/drawing/2014/main" id="{EF9DDF16-7E93-5643-A2D2-647FABFFD695}"/>
              </a:ext>
            </a:extLst>
          </p:cNvPr>
          <p:cNvSpPr>
            <a:spLocks noGrp="1"/>
          </p:cNvSpPr>
          <p:nvPr>
            <p:ph type="body" sz="quarter" idx="15"/>
          </p:nvPr>
        </p:nvSpPr>
        <p:spPr>
          <a:xfrm>
            <a:off x="4248000" y="1073150"/>
            <a:ext cx="3693600"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27" name="Rectangle 26">
            <a:extLst>
              <a:ext uri="{FF2B5EF4-FFF2-40B4-BE49-F238E27FC236}">
                <a16:creationId xmlns:a16="http://schemas.microsoft.com/office/drawing/2014/main" id="{95E85C39-AE1E-3343-ABB1-A9F168C964EA}"/>
              </a:ext>
            </a:extLst>
          </p:cNvPr>
          <p:cNvSpPr/>
          <p:nvPr userDrawn="1"/>
        </p:nvSpPr>
        <p:spPr>
          <a:xfrm>
            <a:off x="8139600" y="1794510"/>
            <a:ext cx="3693600" cy="45142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8" name="Rectangle 27">
            <a:extLst>
              <a:ext uri="{FF2B5EF4-FFF2-40B4-BE49-F238E27FC236}">
                <a16:creationId xmlns:a16="http://schemas.microsoft.com/office/drawing/2014/main" id="{303821D9-D653-0C4E-A2B1-F03471549B9F}"/>
              </a:ext>
            </a:extLst>
          </p:cNvPr>
          <p:cNvSpPr/>
          <p:nvPr userDrawn="1"/>
        </p:nvSpPr>
        <p:spPr>
          <a:xfrm>
            <a:off x="8139600" y="5577840"/>
            <a:ext cx="36936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9" name="Content Placeholder 2">
            <a:extLst>
              <a:ext uri="{FF2B5EF4-FFF2-40B4-BE49-F238E27FC236}">
                <a16:creationId xmlns:a16="http://schemas.microsoft.com/office/drawing/2014/main" id="{EB45D105-92A9-864C-8043-3CF104186BF2}"/>
              </a:ext>
            </a:extLst>
          </p:cNvPr>
          <p:cNvSpPr>
            <a:spLocks noGrp="1"/>
          </p:cNvSpPr>
          <p:nvPr>
            <p:ph sz="half" idx="16" hasCustomPrompt="1"/>
          </p:nvPr>
        </p:nvSpPr>
        <p:spPr>
          <a:xfrm>
            <a:off x="8139600" y="1805940"/>
            <a:ext cx="3693600" cy="3794760"/>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30" name="Rectangle 29">
            <a:extLst>
              <a:ext uri="{FF2B5EF4-FFF2-40B4-BE49-F238E27FC236}">
                <a16:creationId xmlns:a16="http://schemas.microsoft.com/office/drawing/2014/main" id="{4061CD80-DC6E-8A4D-9B59-B6944943BECB}"/>
              </a:ext>
            </a:extLst>
          </p:cNvPr>
          <p:cNvSpPr/>
          <p:nvPr userDrawn="1"/>
        </p:nvSpPr>
        <p:spPr>
          <a:xfrm>
            <a:off x="8139600" y="1066800"/>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1" name="Text Placeholder 10">
            <a:extLst>
              <a:ext uri="{FF2B5EF4-FFF2-40B4-BE49-F238E27FC236}">
                <a16:creationId xmlns:a16="http://schemas.microsoft.com/office/drawing/2014/main" id="{98006BC5-7891-0A4F-B347-6A117F1DCBC0}"/>
              </a:ext>
            </a:extLst>
          </p:cNvPr>
          <p:cNvSpPr>
            <a:spLocks noGrp="1"/>
          </p:cNvSpPr>
          <p:nvPr>
            <p:ph type="body" sz="quarter" idx="17"/>
          </p:nvPr>
        </p:nvSpPr>
        <p:spPr>
          <a:xfrm>
            <a:off x="8139600" y="1073150"/>
            <a:ext cx="3693600"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254281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s with Text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FCEE67-CF2F-9042-950B-5E72BD75EE74}"/>
              </a:ext>
            </a:extLst>
          </p:cNvPr>
          <p:cNvSpPr/>
          <p:nvPr userDrawn="1"/>
        </p:nvSpPr>
        <p:spPr>
          <a:xfrm>
            <a:off x="360000" y="1662543"/>
            <a:ext cx="2736000" cy="4025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lvl1pPr>
              <a:defRPr lang="ar-SA"/>
            </a:lvl1p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18" name="Rectangle 17">
            <a:extLst>
              <a:ext uri="{FF2B5EF4-FFF2-40B4-BE49-F238E27FC236}">
                <a16:creationId xmlns:a16="http://schemas.microsoft.com/office/drawing/2014/main" id="{16967C6B-DE50-9F4D-8BFE-E81C4B632ED1}"/>
              </a:ext>
            </a:extLst>
          </p:cNvPr>
          <p:cNvSpPr/>
          <p:nvPr userDrawn="1"/>
        </p:nvSpPr>
        <p:spPr>
          <a:xfrm>
            <a:off x="360000" y="1066800"/>
            <a:ext cx="27360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9" name="Rectangle 18">
            <a:extLst>
              <a:ext uri="{FF2B5EF4-FFF2-40B4-BE49-F238E27FC236}">
                <a16:creationId xmlns:a16="http://schemas.microsoft.com/office/drawing/2014/main" id="{F752796D-455E-CB4D-9DDD-2B7A71EEB9C2}"/>
              </a:ext>
            </a:extLst>
          </p:cNvPr>
          <p:cNvSpPr/>
          <p:nvPr userDrawn="1"/>
        </p:nvSpPr>
        <p:spPr>
          <a:xfrm>
            <a:off x="360000" y="5577840"/>
            <a:ext cx="27360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 name="Text Placeholder 5">
            <a:extLst>
              <a:ext uri="{FF2B5EF4-FFF2-40B4-BE49-F238E27FC236}">
                <a16:creationId xmlns:a16="http://schemas.microsoft.com/office/drawing/2014/main" id="{232ED550-90BC-B648-9E0B-3D842E8F40A0}"/>
              </a:ext>
            </a:extLst>
          </p:cNvPr>
          <p:cNvSpPr>
            <a:spLocks noGrp="1"/>
          </p:cNvSpPr>
          <p:nvPr>
            <p:ph type="body" sz="quarter" idx="15"/>
          </p:nvPr>
        </p:nvSpPr>
        <p:spPr>
          <a:xfrm>
            <a:off x="360000" y="1073150"/>
            <a:ext cx="2736000" cy="733425"/>
          </a:xfrm>
        </p:spPr>
        <p:txBody>
          <a:bodyPr lIns="144000" tIns="144000" rIns="144000" bIns="144000" anchor="ctr" anchorCtr="0">
            <a:noAutofit/>
          </a:bodyPr>
          <a:lstStyle>
            <a:lvl1pPr marL="0" indent="0">
              <a:buNone/>
              <a:defRPr sz="1600" b="1" i="0">
                <a:latin typeface="Arial Black" panose="020B0604020202020204" pitchFamily="34" charset="0"/>
                <a:cs typeface="Arial Black" panose="020B0604020202020204" pitchFamily="34" charset="0"/>
              </a:defRPr>
            </a:lvl1pPr>
            <a:lvl2pPr>
              <a:defRPr sz="1400" b="1" i="0">
                <a:latin typeface="Arial Black" panose="020B0604020202020204" pitchFamily="34" charset="0"/>
                <a:cs typeface="Arial Black" panose="020B0604020202020204" pitchFamily="34" charset="0"/>
              </a:defRPr>
            </a:lvl2pPr>
            <a:lvl3pPr>
              <a:defRPr sz="1400" b="1" i="0">
                <a:latin typeface="Arial Black" panose="020B0604020202020204" pitchFamily="34" charset="0"/>
                <a:cs typeface="Arial Black" panose="020B0604020202020204" pitchFamily="34" charset="0"/>
              </a:defRPr>
            </a:lvl3pPr>
            <a:lvl4pPr>
              <a:defRPr sz="1400" b="1" i="0">
                <a:latin typeface="Arial Black" panose="020B0604020202020204" pitchFamily="34" charset="0"/>
                <a:cs typeface="Arial Black" panose="020B0604020202020204" pitchFamily="34" charset="0"/>
              </a:defRPr>
            </a:lvl4pPr>
            <a:lvl5pPr>
              <a:defRPr sz="1400" b="1" i="0">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44" name="Rectangle 43">
            <a:extLst>
              <a:ext uri="{FF2B5EF4-FFF2-40B4-BE49-F238E27FC236}">
                <a16:creationId xmlns:a16="http://schemas.microsoft.com/office/drawing/2014/main" id="{FC8DF379-473D-A04C-8D4D-41EC667370B6}"/>
              </a:ext>
            </a:extLst>
          </p:cNvPr>
          <p:cNvSpPr/>
          <p:nvPr userDrawn="1"/>
        </p:nvSpPr>
        <p:spPr>
          <a:xfrm>
            <a:off x="3272400" y="1662543"/>
            <a:ext cx="2736000" cy="4025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45" name="Text Placeholder 4">
            <a:extLst>
              <a:ext uri="{FF2B5EF4-FFF2-40B4-BE49-F238E27FC236}">
                <a16:creationId xmlns:a16="http://schemas.microsoft.com/office/drawing/2014/main" id="{6EFFBCCE-C607-284C-81E0-072173E6CD51}"/>
              </a:ext>
            </a:extLst>
          </p:cNvPr>
          <p:cNvSpPr>
            <a:spLocks noGrp="1"/>
          </p:cNvSpPr>
          <p:nvPr>
            <p:ph type="body" sz="quarter" idx="16" hasCustomPrompt="1"/>
          </p:nvPr>
        </p:nvSpPr>
        <p:spPr>
          <a:xfrm>
            <a:off x="3272400" y="1807200"/>
            <a:ext cx="2736000" cy="3794400"/>
          </a:xfrm>
          <a:noFill/>
        </p:spPr>
        <p:txBody>
          <a:bodyPr lIns="144000" tIns="144000" rIns="144000" bIns="144000">
            <a:normAutofit/>
          </a:bodyPr>
          <a:lstStyle>
            <a:lvl1pPr>
              <a:defRPr sz="1200">
                <a:solidFill>
                  <a:schemeClr val="tx1"/>
                </a:solidFill>
              </a:defRPr>
            </a:lvl1pPr>
            <a:lvl2pPr marL="542925" indent="-179388" algn="l" defTabSz="914400" rtl="0" eaLnBrk="1" latinLnBrk="0" hangingPunct="1">
              <a:lnSpc>
                <a:spcPct val="120000"/>
              </a:lnSpc>
              <a:spcBef>
                <a:spcPts val="500"/>
              </a:spcBef>
              <a:buClr>
                <a:schemeClr val="accent1"/>
              </a:buClr>
              <a:buFont typeface="System Font Regular"/>
              <a:buChar char="-"/>
              <a:defRPr lang="en-US" sz="1200" kern="1200" baseline="0" dirty="0">
                <a:solidFill>
                  <a:schemeClr val="tx1"/>
                </a:solidFill>
                <a:latin typeface="+mn-lt"/>
                <a:ea typeface="+mn-ea"/>
                <a:cs typeface="+mn-cs"/>
              </a:defRPr>
            </a:lvl2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46" name="Rectangle 45">
            <a:extLst>
              <a:ext uri="{FF2B5EF4-FFF2-40B4-BE49-F238E27FC236}">
                <a16:creationId xmlns:a16="http://schemas.microsoft.com/office/drawing/2014/main" id="{1AF92275-45A8-924E-867C-9B13BA367626}"/>
              </a:ext>
            </a:extLst>
          </p:cNvPr>
          <p:cNvSpPr/>
          <p:nvPr userDrawn="1"/>
        </p:nvSpPr>
        <p:spPr>
          <a:xfrm>
            <a:off x="3272400" y="1066800"/>
            <a:ext cx="27360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47" name="Rectangle 46">
            <a:extLst>
              <a:ext uri="{FF2B5EF4-FFF2-40B4-BE49-F238E27FC236}">
                <a16:creationId xmlns:a16="http://schemas.microsoft.com/office/drawing/2014/main" id="{0E92A4F0-B7A3-4047-A0A7-036887D63310}"/>
              </a:ext>
            </a:extLst>
          </p:cNvPr>
          <p:cNvSpPr/>
          <p:nvPr userDrawn="1"/>
        </p:nvSpPr>
        <p:spPr>
          <a:xfrm>
            <a:off x="3272400" y="5577840"/>
            <a:ext cx="27360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48" name="Text Placeholder 5">
            <a:extLst>
              <a:ext uri="{FF2B5EF4-FFF2-40B4-BE49-F238E27FC236}">
                <a16:creationId xmlns:a16="http://schemas.microsoft.com/office/drawing/2014/main" id="{D7764E51-6DCB-BF4C-B07B-83E54395CBD9}"/>
              </a:ext>
            </a:extLst>
          </p:cNvPr>
          <p:cNvSpPr>
            <a:spLocks noGrp="1"/>
          </p:cNvSpPr>
          <p:nvPr>
            <p:ph type="body" sz="quarter" idx="17"/>
          </p:nvPr>
        </p:nvSpPr>
        <p:spPr>
          <a:xfrm>
            <a:off x="3272400" y="1073150"/>
            <a:ext cx="2736000" cy="733425"/>
          </a:xfrm>
        </p:spPr>
        <p:txBody>
          <a:bodyPr lIns="144000" tIns="144000" rIns="144000" bIns="144000" anchor="ctr" anchorCtr="0">
            <a:noAutofit/>
          </a:bodyPr>
          <a:lstStyle>
            <a:lvl1pPr marL="0" indent="0">
              <a:buNone/>
              <a:defRPr sz="1600" b="1" i="0">
                <a:latin typeface="Arial Black" panose="020B0604020202020204" pitchFamily="34" charset="0"/>
                <a:cs typeface="Arial Black" panose="020B0604020202020204" pitchFamily="34" charset="0"/>
              </a:defRPr>
            </a:lvl1pPr>
            <a:lvl2pPr>
              <a:defRPr sz="1400" b="1" i="0">
                <a:latin typeface="Arial Black" panose="020B0604020202020204" pitchFamily="34" charset="0"/>
                <a:cs typeface="Arial Black" panose="020B0604020202020204" pitchFamily="34" charset="0"/>
              </a:defRPr>
            </a:lvl2pPr>
            <a:lvl3pPr>
              <a:defRPr sz="1400" b="1" i="0">
                <a:latin typeface="Arial Black" panose="020B0604020202020204" pitchFamily="34" charset="0"/>
                <a:cs typeface="Arial Black" panose="020B0604020202020204" pitchFamily="34" charset="0"/>
              </a:defRPr>
            </a:lvl3pPr>
            <a:lvl4pPr>
              <a:defRPr sz="1400" b="1" i="0">
                <a:latin typeface="Arial Black" panose="020B0604020202020204" pitchFamily="34" charset="0"/>
                <a:cs typeface="Arial Black" panose="020B0604020202020204" pitchFamily="34" charset="0"/>
              </a:defRPr>
            </a:lvl4pPr>
            <a:lvl5pPr>
              <a:defRPr sz="1400" b="1" i="0">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49" name="Rectangle 48">
            <a:extLst>
              <a:ext uri="{FF2B5EF4-FFF2-40B4-BE49-F238E27FC236}">
                <a16:creationId xmlns:a16="http://schemas.microsoft.com/office/drawing/2014/main" id="{2B40587E-5867-3345-85AB-4E1EB61EC750}"/>
              </a:ext>
            </a:extLst>
          </p:cNvPr>
          <p:cNvSpPr/>
          <p:nvPr userDrawn="1"/>
        </p:nvSpPr>
        <p:spPr>
          <a:xfrm>
            <a:off x="6181200" y="1662543"/>
            <a:ext cx="2736000" cy="4025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0" name="Text Placeholder 4">
            <a:extLst>
              <a:ext uri="{FF2B5EF4-FFF2-40B4-BE49-F238E27FC236}">
                <a16:creationId xmlns:a16="http://schemas.microsoft.com/office/drawing/2014/main" id="{300763B7-4228-BE40-9F3C-F758161FCFF9}"/>
              </a:ext>
            </a:extLst>
          </p:cNvPr>
          <p:cNvSpPr>
            <a:spLocks noGrp="1"/>
          </p:cNvSpPr>
          <p:nvPr>
            <p:ph type="body" sz="quarter" idx="18" hasCustomPrompt="1"/>
          </p:nvPr>
        </p:nvSpPr>
        <p:spPr>
          <a:xfrm>
            <a:off x="6181200" y="1807200"/>
            <a:ext cx="2736000" cy="3794400"/>
          </a:xfrm>
          <a:noFill/>
        </p:spPr>
        <p:txBody>
          <a:bodyPr lIns="144000" tIns="144000" rIns="144000" bIns="144000">
            <a:normAutofit/>
          </a:bodyPr>
          <a:lstStyle>
            <a:lvl1pPr>
              <a:defRPr sz="1200">
                <a:solidFill>
                  <a:schemeClr val="tx1"/>
                </a:solidFill>
              </a:defRPr>
            </a:lvl1pPr>
            <a:lvl2pPr marL="542925" indent="-179388" algn="l" defTabSz="914400" rtl="0" eaLnBrk="1" latinLnBrk="0" hangingPunct="1">
              <a:lnSpc>
                <a:spcPct val="120000"/>
              </a:lnSpc>
              <a:spcBef>
                <a:spcPts val="500"/>
              </a:spcBef>
              <a:buClr>
                <a:schemeClr val="accent1"/>
              </a:buClr>
              <a:buFont typeface="System Font Regular"/>
              <a:buChar char="-"/>
              <a:defRPr lang="en-US" sz="1200" kern="1200" baseline="0" dirty="0">
                <a:solidFill>
                  <a:schemeClr val="tx1"/>
                </a:solidFill>
                <a:latin typeface="+mn-lt"/>
                <a:ea typeface="+mn-ea"/>
                <a:cs typeface="+mn-cs"/>
              </a:defRPr>
            </a:lvl2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51" name="Rectangle 50">
            <a:extLst>
              <a:ext uri="{FF2B5EF4-FFF2-40B4-BE49-F238E27FC236}">
                <a16:creationId xmlns:a16="http://schemas.microsoft.com/office/drawing/2014/main" id="{5A617A95-8AB4-CC4C-9536-692887364033}"/>
              </a:ext>
            </a:extLst>
          </p:cNvPr>
          <p:cNvSpPr/>
          <p:nvPr userDrawn="1"/>
        </p:nvSpPr>
        <p:spPr>
          <a:xfrm>
            <a:off x="6181200" y="1066800"/>
            <a:ext cx="27360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2" name="Rectangle 51">
            <a:extLst>
              <a:ext uri="{FF2B5EF4-FFF2-40B4-BE49-F238E27FC236}">
                <a16:creationId xmlns:a16="http://schemas.microsoft.com/office/drawing/2014/main" id="{999804B9-D2C9-8A4B-8979-21D7BB37A87C}"/>
              </a:ext>
            </a:extLst>
          </p:cNvPr>
          <p:cNvSpPr/>
          <p:nvPr userDrawn="1"/>
        </p:nvSpPr>
        <p:spPr>
          <a:xfrm>
            <a:off x="6181200" y="5577840"/>
            <a:ext cx="27360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3" name="Text Placeholder 5">
            <a:extLst>
              <a:ext uri="{FF2B5EF4-FFF2-40B4-BE49-F238E27FC236}">
                <a16:creationId xmlns:a16="http://schemas.microsoft.com/office/drawing/2014/main" id="{4F427B90-2611-D749-B903-840A60A79E97}"/>
              </a:ext>
            </a:extLst>
          </p:cNvPr>
          <p:cNvSpPr>
            <a:spLocks noGrp="1"/>
          </p:cNvSpPr>
          <p:nvPr>
            <p:ph type="body" sz="quarter" idx="19"/>
          </p:nvPr>
        </p:nvSpPr>
        <p:spPr>
          <a:xfrm>
            <a:off x="6181200" y="1073150"/>
            <a:ext cx="2736000" cy="733425"/>
          </a:xfrm>
        </p:spPr>
        <p:txBody>
          <a:bodyPr lIns="144000" tIns="144000" rIns="144000" bIns="144000" anchor="ctr" anchorCtr="0">
            <a:noAutofit/>
          </a:bodyPr>
          <a:lstStyle>
            <a:lvl1pPr marL="0" indent="0">
              <a:buNone/>
              <a:defRPr sz="1600" b="1" i="0">
                <a:latin typeface="Arial Black" panose="020B0604020202020204" pitchFamily="34" charset="0"/>
                <a:cs typeface="Arial Black" panose="020B0604020202020204" pitchFamily="34" charset="0"/>
              </a:defRPr>
            </a:lvl1pPr>
            <a:lvl2pPr>
              <a:defRPr sz="1400" b="1" i="0">
                <a:latin typeface="Arial Black" panose="020B0604020202020204" pitchFamily="34" charset="0"/>
                <a:cs typeface="Arial Black" panose="020B0604020202020204" pitchFamily="34" charset="0"/>
              </a:defRPr>
            </a:lvl2pPr>
            <a:lvl3pPr>
              <a:defRPr sz="1400" b="1" i="0">
                <a:latin typeface="Arial Black" panose="020B0604020202020204" pitchFamily="34" charset="0"/>
                <a:cs typeface="Arial Black" panose="020B0604020202020204" pitchFamily="34" charset="0"/>
              </a:defRPr>
            </a:lvl3pPr>
            <a:lvl4pPr>
              <a:defRPr sz="1400" b="1" i="0">
                <a:latin typeface="Arial Black" panose="020B0604020202020204" pitchFamily="34" charset="0"/>
                <a:cs typeface="Arial Black" panose="020B0604020202020204" pitchFamily="34" charset="0"/>
              </a:defRPr>
            </a:lvl4pPr>
            <a:lvl5pPr>
              <a:defRPr sz="1400" b="1" i="0">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54" name="Rectangle 53">
            <a:extLst>
              <a:ext uri="{FF2B5EF4-FFF2-40B4-BE49-F238E27FC236}">
                <a16:creationId xmlns:a16="http://schemas.microsoft.com/office/drawing/2014/main" id="{682C05FD-5613-524E-9D73-14D9E2A188FA}"/>
              </a:ext>
            </a:extLst>
          </p:cNvPr>
          <p:cNvSpPr/>
          <p:nvPr userDrawn="1"/>
        </p:nvSpPr>
        <p:spPr>
          <a:xfrm>
            <a:off x="9093600" y="1662543"/>
            <a:ext cx="2736000" cy="4025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5" name="Text Placeholder 4">
            <a:extLst>
              <a:ext uri="{FF2B5EF4-FFF2-40B4-BE49-F238E27FC236}">
                <a16:creationId xmlns:a16="http://schemas.microsoft.com/office/drawing/2014/main" id="{BD18D014-A827-B14F-B35A-274C7CCDD83F}"/>
              </a:ext>
            </a:extLst>
          </p:cNvPr>
          <p:cNvSpPr>
            <a:spLocks noGrp="1"/>
          </p:cNvSpPr>
          <p:nvPr>
            <p:ph type="body" sz="quarter" idx="20" hasCustomPrompt="1"/>
          </p:nvPr>
        </p:nvSpPr>
        <p:spPr>
          <a:xfrm>
            <a:off x="9093600" y="1807200"/>
            <a:ext cx="2736000" cy="3794400"/>
          </a:xfrm>
          <a:noFill/>
        </p:spPr>
        <p:txBody>
          <a:bodyPr lIns="144000" tIns="144000" rIns="144000" bIns="144000">
            <a:normAutofit/>
          </a:bodyPr>
          <a:lstStyle>
            <a:lvl1pPr>
              <a:defRPr sz="1200">
                <a:solidFill>
                  <a:schemeClr val="tx1"/>
                </a:solidFill>
              </a:defRPr>
            </a:lvl1pPr>
            <a:lvl2pPr marL="542925" indent="-179388" algn="l" defTabSz="914400" rtl="0" eaLnBrk="1" latinLnBrk="0" hangingPunct="1">
              <a:lnSpc>
                <a:spcPct val="120000"/>
              </a:lnSpc>
              <a:spcBef>
                <a:spcPts val="500"/>
              </a:spcBef>
              <a:buClr>
                <a:schemeClr val="accent1"/>
              </a:buClr>
              <a:buFont typeface="System Font Regular"/>
              <a:buChar char="-"/>
              <a:defRPr lang="en-US" sz="1200" kern="1200" baseline="0" dirty="0">
                <a:solidFill>
                  <a:schemeClr val="tx1"/>
                </a:solidFill>
                <a:latin typeface="+mn-lt"/>
                <a:ea typeface="+mn-ea"/>
                <a:cs typeface="+mn-cs"/>
              </a:defRPr>
            </a:lvl2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56" name="Rectangle 55">
            <a:extLst>
              <a:ext uri="{FF2B5EF4-FFF2-40B4-BE49-F238E27FC236}">
                <a16:creationId xmlns:a16="http://schemas.microsoft.com/office/drawing/2014/main" id="{B41E8841-7A00-824A-A66B-CF17752C0F29}"/>
              </a:ext>
            </a:extLst>
          </p:cNvPr>
          <p:cNvSpPr/>
          <p:nvPr userDrawn="1"/>
        </p:nvSpPr>
        <p:spPr>
          <a:xfrm>
            <a:off x="9093600" y="1066800"/>
            <a:ext cx="27360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7" name="Rectangle 56">
            <a:extLst>
              <a:ext uri="{FF2B5EF4-FFF2-40B4-BE49-F238E27FC236}">
                <a16:creationId xmlns:a16="http://schemas.microsoft.com/office/drawing/2014/main" id="{CF73EEBF-B904-9C48-B24E-5C5FBA92BF7D}"/>
              </a:ext>
            </a:extLst>
          </p:cNvPr>
          <p:cNvSpPr/>
          <p:nvPr userDrawn="1"/>
        </p:nvSpPr>
        <p:spPr>
          <a:xfrm>
            <a:off x="9093600" y="5577840"/>
            <a:ext cx="2736000" cy="730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8" name="Text Placeholder 5">
            <a:extLst>
              <a:ext uri="{FF2B5EF4-FFF2-40B4-BE49-F238E27FC236}">
                <a16:creationId xmlns:a16="http://schemas.microsoft.com/office/drawing/2014/main" id="{3B6A9B51-615B-7F4F-B204-2BCFE1A7F220}"/>
              </a:ext>
            </a:extLst>
          </p:cNvPr>
          <p:cNvSpPr>
            <a:spLocks noGrp="1"/>
          </p:cNvSpPr>
          <p:nvPr>
            <p:ph type="body" sz="quarter" idx="21"/>
          </p:nvPr>
        </p:nvSpPr>
        <p:spPr>
          <a:xfrm>
            <a:off x="9093600" y="1073150"/>
            <a:ext cx="2736000" cy="733425"/>
          </a:xfrm>
        </p:spPr>
        <p:txBody>
          <a:bodyPr lIns="144000" tIns="144000" rIns="144000" bIns="144000" anchor="ctr" anchorCtr="0">
            <a:noAutofit/>
          </a:bodyPr>
          <a:lstStyle>
            <a:lvl1pPr marL="0" indent="0">
              <a:buNone/>
              <a:defRPr sz="1600" b="1" i="0">
                <a:latin typeface="Arial Black" panose="020B0604020202020204" pitchFamily="34" charset="0"/>
                <a:cs typeface="Arial Black" panose="020B0604020202020204" pitchFamily="34" charset="0"/>
              </a:defRPr>
            </a:lvl1pPr>
            <a:lvl2pPr>
              <a:defRPr sz="1400" b="1" i="0">
                <a:latin typeface="Arial Black" panose="020B0604020202020204" pitchFamily="34" charset="0"/>
                <a:cs typeface="Arial Black" panose="020B0604020202020204" pitchFamily="34" charset="0"/>
              </a:defRPr>
            </a:lvl2pPr>
            <a:lvl3pPr>
              <a:defRPr sz="1400" b="1" i="0">
                <a:latin typeface="Arial Black" panose="020B0604020202020204" pitchFamily="34" charset="0"/>
                <a:cs typeface="Arial Black" panose="020B0604020202020204" pitchFamily="34" charset="0"/>
              </a:defRPr>
            </a:lvl3pPr>
            <a:lvl4pPr>
              <a:defRPr sz="1400" b="1" i="0">
                <a:latin typeface="Arial Black" panose="020B0604020202020204" pitchFamily="34" charset="0"/>
                <a:cs typeface="Arial Black" panose="020B0604020202020204" pitchFamily="34" charset="0"/>
              </a:defRPr>
            </a:lvl4pPr>
            <a:lvl5pPr>
              <a:defRPr sz="1400" b="1" i="0">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59" name="Content Placeholder 2">
            <a:extLst>
              <a:ext uri="{FF2B5EF4-FFF2-40B4-BE49-F238E27FC236}">
                <a16:creationId xmlns:a16="http://schemas.microsoft.com/office/drawing/2014/main" id="{BADA93AC-7407-7E46-AAF3-F2FE6793FA15}"/>
              </a:ext>
            </a:extLst>
          </p:cNvPr>
          <p:cNvSpPr>
            <a:spLocks noGrp="1"/>
          </p:cNvSpPr>
          <p:nvPr>
            <p:ph sz="half" idx="1" hasCustomPrompt="1"/>
          </p:nvPr>
        </p:nvSpPr>
        <p:spPr>
          <a:xfrm>
            <a:off x="360000" y="1805940"/>
            <a:ext cx="2736000" cy="3794760"/>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Tree>
    <p:extLst>
      <p:ext uri="{BB962C8B-B14F-4D97-AF65-F5344CB8AC3E}">
        <p14:creationId xmlns:p14="http://schemas.microsoft.com/office/powerpoint/2010/main" val="165131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 boxes with text color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lang="en-US"/>
            </a:lvl1pPr>
          </a:lstStyle>
          <a:p>
            <a:r>
              <a:rPr lang="en-US"/>
              <a:t>Slide title (keep it short)</a:t>
            </a:r>
          </a:p>
        </p:txBody>
      </p:sp>
      <p:sp>
        <p:nvSpPr>
          <p:cNvPr id="5" name="Slide Number Placeholder 4">
            <a:extLst>
              <a:ext uri="{FF2B5EF4-FFF2-40B4-BE49-F238E27FC236}">
                <a16:creationId xmlns:a16="http://schemas.microsoft.com/office/drawing/2014/main" id="{AB3A5C24-8C28-5648-8B2A-CF4918741A6B}"/>
              </a:ext>
            </a:extLst>
          </p:cNvPr>
          <p:cNvSpPr>
            <a:spLocks noGrp="1"/>
          </p:cNvSpPr>
          <p:nvPr>
            <p:ph type="sldNum" sz="quarter" idx="12"/>
          </p:nvPr>
        </p:nvSpPr>
        <p:spPr/>
        <p:txBody>
          <a:bodyPr/>
          <a:lstStyle>
            <a:lvl1pPr>
              <a:defRPr lang="en-US" smtClean="0"/>
            </a:lvl1pPr>
          </a:lstStyle>
          <a:p>
            <a:fld id="{9A0F7689-66CB-EC4F-9B5C-9C3D3ED1F24F}" type="slidenum">
              <a:rPr lang="en-US" smtClean="0"/>
              <a:pPr/>
              <a:t>‹#›</a:t>
            </a:fld>
            <a:endParaRPr lang="en-US" dirty="0"/>
          </a:p>
        </p:txBody>
      </p:sp>
      <p:sp>
        <p:nvSpPr>
          <p:cNvPr id="6" name="Rectangle 5">
            <a:extLst>
              <a:ext uri="{FF2B5EF4-FFF2-40B4-BE49-F238E27FC236}">
                <a16:creationId xmlns:a16="http://schemas.microsoft.com/office/drawing/2014/main" id="{0901BD50-6672-5F42-9598-5DEFB2038E22}"/>
              </a:ext>
            </a:extLst>
          </p:cNvPr>
          <p:cNvSpPr/>
          <p:nvPr userDrawn="1"/>
        </p:nvSpPr>
        <p:spPr>
          <a:xfrm>
            <a:off x="360000" y="1794511"/>
            <a:ext cx="3693600" cy="169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8" name="Rectangle 7">
            <a:extLst>
              <a:ext uri="{FF2B5EF4-FFF2-40B4-BE49-F238E27FC236}">
                <a16:creationId xmlns:a16="http://schemas.microsoft.com/office/drawing/2014/main" id="{4A08D850-70D9-AC47-AF04-2B536323FD44}"/>
              </a:ext>
            </a:extLst>
          </p:cNvPr>
          <p:cNvSpPr/>
          <p:nvPr userDrawn="1"/>
        </p:nvSpPr>
        <p:spPr>
          <a:xfrm>
            <a:off x="360000" y="3064470"/>
            <a:ext cx="3693600" cy="528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9" name="Rectangle 8">
            <a:extLst>
              <a:ext uri="{FF2B5EF4-FFF2-40B4-BE49-F238E27FC236}">
                <a16:creationId xmlns:a16="http://schemas.microsoft.com/office/drawing/2014/main" id="{F2622DAE-BF1D-384E-A074-E04E016B653F}"/>
              </a:ext>
            </a:extLst>
          </p:cNvPr>
          <p:cNvSpPr/>
          <p:nvPr userDrawn="1"/>
        </p:nvSpPr>
        <p:spPr>
          <a:xfrm>
            <a:off x="360000" y="1066800"/>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1" name="Text Placeholder 10">
            <a:extLst>
              <a:ext uri="{FF2B5EF4-FFF2-40B4-BE49-F238E27FC236}">
                <a16:creationId xmlns:a16="http://schemas.microsoft.com/office/drawing/2014/main" id="{6D664640-547A-1546-85F0-A70E26E77912}"/>
              </a:ext>
            </a:extLst>
          </p:cNvPr>
          <p:cNvSpPr>
            <a:spLocks noGrp="1"/>
          </p:cNvSpPr>
          <p:nvPr>
            <p:ph type="body" sz="quarter" idx="13"/>
          </p:nvPr>
        </p:nvSpPr>
        <p:spPr>
          <a:xfrm>
            <a:off x="360000" y="1073150"/>
            <a:ext cx="3693600"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145" name="Rectangle 144">
            <a:extLst>
              <a:ext uri="{FF2B5EF4-FFF2-40B4-BE49-F238E27FC236}">
                <a16:creationId xmlns:a16="http://schemas.microsoft.com/office/drawing/2014/main" id="{45D449AB-D004-7C4A-ACE1-992D04128D6A}"/>
              </a:ext>
            </a:extLst>
          </p:cNvPr>
          <p:cNvSpPr/>
          <p:nvPr userDrawn="1"/>
        </p:nvSpPr>
        <p:spPr>
          <a:xfrm>
            <a:off x="360000" y="4505808"/>
            <a:ext cx="3693600" cy="169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46" name="Rectangle 145">
            <a:extLst>
              <a:ext uri="{FF2B5EF4-FFF2-40B4-BE49-F238E27FC236}">
                <a16:creationId xmlns:a16="http://schemas.microsoft.com/office/drawing/2014/main" id="{B61C10D9-3BE0-0348-B45D-08F65FB2CFF0}"/>
              </a:ext>
            </a:extLst>
          </p:cNvPr>
          <p:cNvSpPr/>
          <p:nvPr userDrawn="1"/>
        </p:nvSpPr>
        <p:spPr>
          <a:xfrm>
            <a:off x="360000" y="5775767"/>
            <a:ext cx="3693600" cy="528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48" name="Rectangle 147">
            <a:extLst>
              <a:ext uri="{FF2B5EF4-FFF2-40B4-BE49-F238E27FC236}">
                <a16:creationId xmlns:a16="http://schemas.microsoft.com/office/drawing/2014/main" id="{0E03CBA4-8EFA-F04E-BB34-8B25770CA98E}"/>
              </a:ext>
            </a:extLst>
          </p:cNvPr>
          <p:cNvSpPr/>
          <p:nvPr userDrawn="1"/>
        </p:nvSpPr>
        <p:spPr>
          <a:xfrm>
            <a:off x="360000" y="3778097"/>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149" name="Text Placeholder 10">
            <a:extLst>
              <a:ext uri="{FF2B5EF4-FFF2-40B4-BE49-F238E27FC236}">
                <a16:creationId xmlns:a16="http://schemas.microsoft.com/office/drawing/2014/main" id="{735EE2A1-2EFB-5842-B249-DBA3B3AB832A}"/>
              </a:ext>
            </a:extLst>
          </p:cNvPr>
          <p:cNvSpPr>
            <a:spLocks noGrp="1"/>
          </p:cNvSpPr>
          <p:nvPr>
            <p:ph type="body" sz="quarter" idx="19"/>
          </p:nvPr>
        </p:nvSpPr>
        <p:spPr>
          <a:xfrm>
            <a:off x="360000" y="3784447"/>
            <a:ext cx="3693600" cy="73279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EE1C3559-AF5C-AC43-851B-5E8CD636A16C}"/>
              </a:ext>
            </a:extLst>
          </p:cNvPr>
          <p:cNvSpPr>
            <a:spLocks noGrp="1"/>
          </p:cNvSpPr>
          <p:nvPr>
            <p:ph sz="half" idx="1" hasCustomPrompt="1"/>
          </p:nvPr>
        </p:nvSpPr>
        <p:spPr>
          <a:xfrm>
            <a:off x="360000" y="1805940"/>
            <a:ext cx="3693600" cy="1269769"/>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62" name="Content Placeholder 2">
            <a:extLst>
              <a:ext uri="{FF2B5EF4-FFF2-40B4-BE49-F238E27FC236}">
                <a16:creationId xmlns:a16="http://schemas.microsoft.com/office/drawing/2014/main" id="{DA156D8B-4D35-B94B-8F7C-20BF3A2FD35A}"/>
              </a:ext>
            </a:extLst>
          </p:cNvPr>
          <p:cNvSpPr>
            <a:spLocks noGrp="1"/>
          </p:cNvSpPr>
          <p:nvPr>
            <p:ph sz="half" idx="32" hasCustomPrompt="1"/>
          </p:nvPr>
        </p:nvSpPr>
        <p:spPr>
          <a:xfrm>
            <a:off x="360000" y="4539600"/>
            <a:ext cx="3693600" cy="1269769"/>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63" name="Rectangle 62">
            <a:extLst>
              <a:ext uri="{FF2B5EF4-FFF2-40B4-BE49-F238E27FC236}">
                <a16:creationId xmlns:a16="http://schemas.microsoft.com/office/drawing/2014/main" id="{1ECB152B-EF2B-3F44-B981-0C2533D538B2}"/>
              </a:ext>
            </a:extLst>
          </p:cNvPr>
          <p:cNvSpPr/>
          <p:nvPr userDrawn="1"/>
        </p:nvSpPr>
        <p:spPr>
          <a:xfrm>
            <a:off x="4248000" y="1794511"/>
            <a:ext cx="3693600" cy="169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4" name="Rectangle 63">
            <a:extLst>
              <a:ext uri="{FF2B5EF4-FFF2-40B4-BE49-F238E27FC236}">
                <a16:creationId xmlns:a16="http://schemas.microsoft.com/office/drawing/2014/main" id="{DA607ACA-4194-7148-90B1-05A2C5B6D4CE}"/>
              </a:ext>
            </a:extLst>
          </p:cNvPr>
          <p:cNvSpPr/>
          <p:nvPr userDrawn="1"/>
        </p:nvSpPr>
        <p:spPr>
          <a:xfrm>
            <a:off x="4248000" y="3064470"/>
            <a:ext cx="3693600" cy="528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5" name="Rectangle 64">
            <a:extLst>
              <a:ext uri="{FF2B5EF4-FFF2-40B4-BE49-F238E27FC236}">
                <a16:creationId xmlns:a16="http://schemas.microsoft.com/office/drawing/2014/main" id="{0E66BA1E-F45C-504F-9A3A-C20D0F3D6297}"/>
              </a:ext>
            </a:extLst>
          </p:cNvPr>
          <p:cNvSpPr/>
          <p:nvPr userDrawn="1"/>
        </p:nvSpPr>
        <p:spPr>
          <a:xfrm>
            <a:off x="4248000" y="1066800"/>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6" name="Text Placeholder 10">
            <a:extLst>
              <a:ext uri="{FF2B5EF4-FFF2-40B4-BE49-F238E27FC236}">
                <a16:creationId xmlns:a16="http://schemas.microsoft.com/office/drawing/2014/main" id="{6590D385-BD1F-0440-A930-A97196B8FC84}"/>
              </a:ext>
            </a:extLst>
          </p:cNvPr>
          <p:cNvSpPr>
            <a:spLocks noGrp="1"/>
          </p:cNvSpPr>
          <p:nvPr>
            <p:ph type="body" sz="quarter" idx="33"/>
          </p:nvPr>
        </p:nvSpPr>
        <p:spPr>
          <a:xfrm>
            <a:off x="4248000" y="1073150"/>
            <a:ext cx="3693600"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67" name="Rectangle 66">
            <a:extLst>
              <a:ext uri="{FF2B5EF4-FFF2-40B4-BE49-F238E27FC236}">
                <a16:creationId xmlns:a16="http://schemas.microsoft.com/office/drawing/2014/main" id="{3396BABE-8507-4143-AD39-B9807491CC84}"/>
              </a:ext>
            </a:extLst>
          </p:cNvPr>
          <p:cNvSpPr/>
          <p:nvPr userDrawn="1"/>
        </p:nvSpPr>
        <p:spPr>
          <a:xfrm>
            <a:off x="4248000" y="4505808"/>
            <a:ext cx="3693600" cy="169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8" name="Rectangle 67">
            <a:extLst>
              <a:ext uri="{FF2B5EF4-FFF2-40B4-BE49-F238E27FC236}">
                <a16:creationId xmlns:a16="http://schemas.microsoft.com/office/drawing/2014/main" id="{6D9E7CC4-451E-7A4B-917B-D665C31BAB1E}"/>
              </a:ext>
            </a:extLst>
          </p:cNvPr>
          <p:cNvSpPr/>
          <p:nvPr userDrawn="1"/>
        </p:nvSpPr>
        <p:spPr>
          <a:xfrm>
            <a:off x="4248000" y="5775767"/>
            <a:ext cx="3693600" cy="528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9" name="Rectangle 68">
            <a:extLst>
              <a:ext uri="{FF2B5EF4-FFF2-40B4-BE49-F238E27FC236}">
                <a16:creationId xmlns:a16="http://schemas.microsoft.com/office/drawing/2014/main" id="{065F0EA1-C3AA-964C-A8D4-537DF0B5A74D}"/>
              </a:ext>
            </a:extLst>
          </p:cNvPr>
          <p:cNvSpPr/>
          <p:nvPr userDrawn="1"/>
        </p:nvSpPr>
        <p:spPr>
          <a:xfrm>
            <a:off x="4248000" y="3778097"/>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0" name="Text Placeholder 10">
            <a:extLst>
              <a:ext uri="{FF2B5EF4-FFF2-40B4-BE49-F238E27FC236}">
                <a16:creationId xmlns:a16="http://schemas.microsoft.com/office/drawing/2014/main" id="{EBBA450F-979C-CC43-9C49-33BCE20A9AD3}"/>
              </a:ext>
            </a:extLst>
          </p:cNvPr>
          <p:cNvSpPr>
            <a:spLocks noGrp="1"/>
          </p:cNvSpPr>
          <p:nvPr>
            <p:ph type="body" sz="quarter" idx="34"/>
          </p:nvPr>
        </p:nvSpPr>
        <p:spPr>
          <a:xfrm>
            <a:off x="4248000" y="3784447"/>
            <a:ext cx="3693600" cy="73279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71" name="Content Placeholder 2">
            <a:extLst>
              <a:ext uri="{FF2B5EF4-FFF2-40B4-BE49-F238E27FC236}">
                <a16:creationId xmlns:a16="http://schemas.microsoft.com/office/drawing/2014/main" id="{94FBAFB1-3228-034C-9266-8E8F6615514D}"/>
              </a:ext>
            </a:extLst>
          </p:cNvPr>
          <p:cNvSpPr>
            <a:spLocks noGrp="1"/>
          </p:cNvSpPr>
          <p:nvPr>
            <p:ph sz="half" idx="35" hasCustomPrompt="1"/>
          </p:nvPr>
        </p:nvSpPr>
        <p:spPr>
          <a:xfrm>
            <a:off x="4248000" y="1805940"/>
            <a:ext cx="3693600" cy="1269769"/>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72" name="Content Placeholder 2">
            <a:extLst>
              <a:ext uri="{FF2B5EF4-FFF2-40B4-BE49-F238E27FC236}">
                <a16:creationId xmlns:a16="http://schemas.microsoft.com/office/drawing/2014/main" id="{7EE9FD8E-11D4-7646-B7F8-D659346768A4}"/>
              </a:ext>
            </a:extLst>
          </p:cNvPr>
          <p:cNvSpPr>
            <a:spLocks noGrp="1"/>
          </p:cNvSpPr>
          <p:nvPr>
            <p:ph sz="half" idx="36" hasCustomPrompt="1"/>
          </p:nvPr>
        </p:nvSpPr>
        <p:spPr>
          <a:xfrm>
            <a:off x="4248000" y="4539600"/>
            <a:ext cx="3693600" cy="1269769"/>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73" name="Rectangle 72">
            <a:extLst>
              <a:ext uri="{FF2B5EF4-FFF2-40B4-BE49-F238E27FC236}">
                <a16:creationId xmlns:a16="http://schemas.microsoft.com/office/drawing/2014/main" id="{2FD86C6C-4565-2F42-B3BF-F0685472C532}"/>
              </a:ext>
            </a:extLst>
          </p:cNvPr>
          <p:cNvSpPr/>
          <p:nvPr userDrawn="1"/>
        </p:nvSpPr>
        <p:spPr>
          <a:xfrm>
            <a:off x="8139600" y="1794511"/>
            <a:ext cx="3693600" cy="169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4" name="Rectangle 73">
            <a:extLst>
              <a:ext uri="{FF2B5EF4-FFF2-40B4-BE49-F238E27FC236}">
                <a16:creationId xmlns:a16="http://schemas.microsoft.com/office/drawing/2014/main" id="{FF1BBDA2-9A94-0D43-A9D6-6518C0FC0E5F}"/>
              </a:ext>
            </a:extLst>
          </p:cNvPr>
          <p:cNvSpPr/>
          <p:nvPr userDrawn="1"/>
        </p:nvSpPr>
        <p:spPr>
          <a:xfrm>
            <a:off x="8139600" y="3064470"/>
            <a:ext cx="3693600" cy="528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5" name="Rectangle 74">
            <a:extLst>
              <a:ext uri="{FF2B5EF4-FFF2-40B4-BE49-F238E27FC236}">
                <a16:creationId xmlns:a16="http://schemas.microsoft.com/office/drawing/2014/main" id="{A5E517E3-D2EF-8B44-B8F0-A224DCDBEE61}"/>
              </a:ext>
            </a:extLst>
          </p:cNvPr>
          <p:cNvSpPr/>
          <p:nvPr userDrawn="1"/>
        </p:nvSpPr>
        <p:spPr>
          <a:xfrm>
            <a:off x="8139600" y="1066800"/>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6" name="Text Placeholder 10">
            <a:extLst>
              <a:ext uri="{FF2B5EF4-FFF2-40B4-BE49-F238E27FC236}">
                <a16:creationId xmlns:a16="http://schemas.microsoft.com/office/drawing/2014/main" id="{9A96C3CC-04E3-874A-B48F-9054A1B29592}"/>
              </a:ext>
            </a:extLst>
          </p:cNvPr>
          <p:cNvSpPr>
            <a:spLocks noGrp="1"/>
          </p:cNvSpPr>
          <p:nvPr>
            <p:ph type="body" sz="quarter" idx="37"/>
          </p:nvPr>
        </p:nvSpPr>
        <p:spPr>
          <a:xfrm>
            <a:off x="8139600" y="1073150"/>
            <a:ext cx="3693600" cy="73080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77" name="Rectangle 76">
            <a:extLst>
              <a:ext uri="{FF2B5EF4-FFF2-40B4-BE49-F238E27FC236}">
                <a16:creationId xmlns:a16="http://schemas.microsoft.com/office/drawing/2014/main" id="{FC53BAC9-2BA8-6A46-957B-604C6B8F40AC}"/>
              </a:ext>
            </a:extLst>
          </p:cNvPr>
          <p:cNvSpPr/>
          <p:nvPr userDrawn="1"/>
        </p:nvSpPr>
        <p:spPr>
          <a:xfrm>
            <a:off x="8139600" y="4505808"/>
            <a:ext cx="3693600" cy="169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8" name="Rectangle 77">
            <a:extLst>
              <a:ext uri="{FF2B5EF4-FFF2-40B4-BE49-F238E27FC236}">
                <a16:creationId xmlns:a16="http://schemas.microsoft.com/office/drawing/2014/main" id="{6EE47233-D01F-D442-8A06-BCAA72F8D866}"/>
              </a:ext>
            </a:extLst>
          </p:cNvPr>
          <p:cNvSpPr/>
          <p:nvPr userDrawn="1"/>
        </p:nvSpPr>
        <p:spPr>
          <a:xfrm>
            <a:off x="8139600" y="5775767"/>
            <a:ext cx="3693600" cy="5280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9" name="Rectangle 78">
            <a:extLst>
              <a:ext uri="{FF2B5EF4-FFF2-40B4-BE49-F238E27FC236}">
                <a16:creationId xmlns:a16="http://schemas.microsoft.com/office/drawing/2014/main" id="{CD0EE4B5-E38F-BD44-B038-BBDFF3DCC830}"/>
              </a:ext>
            </a:extLst>
          </p:cNvPr>
          <p:cNvSpPr/>
          <p:nvPr userDrawn="1"/>
        </p:nvSpPr>
        <p:spPr>
          <a:xfrm>
            <a:off x="8139600" y="3778097"/>
            <a:ext cx="3693600" cy="730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80" name="Text Placeholder 10">
            <a:extLst>
              <a:ext uri="{FF2B5EF4-FFF2-40B4-BE49-F238E27FC236}">
                <a16:creationId xmlns:a16="http://schemas.microsoft.com/office/drawing/2014/main" id="{32ADB784-ACDD-AE4E-AEFB-334F9A146DB5}"/>
              </a:ext>
            </a:extLst>
          </p:cNvPr>
          <p:cNvSpPr>
            <a:spLocks noGrp="1"/>
          </p:cNvSpPr>
          <p:nvPr>
            <p:ph type="body" sz="quarter" idx="38"/>
          </p:nvPr>
        </p:nvSpPr>
        <p:spPr>
          <a:xfrm>
            <a:off x="8139600" y="3784447"/>
            <a:ext cx="3693600" cy="732790"/>
          </a:xfrm>
        </p:spPr>
        <p:txBody>
          <a:bodyPr lIns="144000" tIns="144000" rIns="144000" bIns="144000" anchor="ctr" anchorCtr="0">
            <a:noAutofit/>
          </a:bodyPr>
          <a:lstStyle>
            <a:lvl1pPr marL="0" indent="0">
              <a:buNone/>
              <a:defRPr sz="1600" b="1" i="0">
                <a:solidFill>
                  <a:schemeClr val="bg2"/>
                </a:solidFill>
                <a:latin typeface="Arial Black" panose="020B0604020202020204" pitchFamily="34" charset="0"/>
                <a:cs typeface="Arial Black" panose="020B0604020202020204" pitchFamily="34" charset="0"/>
              </a:defRPr>
            </a:lvl1pPr>
            <a:lvl2pPr marL="360000" indent="0">
              <a:buNone/>
              <a:defRPr sz="1400" b="1" i="0">
                <a:solidFill>
                  <a:schemeClr val="tx1"/>
                </a:solidFill>
                <a:latin typeface="Arial Black" panose="020B0604020202020204" pitchFamily="34" charset="0"/>
                <a:cs typeface="Arial Black" panose="020B0604020202020204" pitchFamily="34" charset="0"/>
              </a:defRPr>
            </a:lvl2pPr>
            <a:lvl3pPr marL="914400" indent="0">
              <a:buFont typeface="Arial" panose="020B0604020202020204" pitchFamily="34" charset="0"/>
              <a:buNone/>
              <a:defRPr sz="1400" b="1" i="0">
                <a:solidFill>
                  <a:schemeClr val="tx1"/>
                </a:solidFill>
                <a:latin typeface="Arial Black" panose="020B0604020202020204" pitchFamily="34" charset="0"/>
                <a:cs typeface="Arial Black" panose="020B0604020202020204" pitchFamily="34" charset="0"/>
              </a:defRPr>
            </a:lvl3pPr>
            <a:lvl4pPr marL="1371600" indent="0">
              <a:buNone/>
              <a:defRPr sz="1400" b="1" i="0">
                <a:solidFill>
                  <a:schemeClr val="tx1"/>
                </a:solidFill>
                <a:latin typeface="Arial Black" panose="020B0604020202020204" pitchFamily="34" charset="0"/>
                <a:cs typeface="Arial Black" panose="020B0604020202020204" pitchFamily="34" charset="0"/>
              </a:defRPr>
            </a:lvl4pPr>
            <a:lvl5pPr marL="1828800" indent="0">
              <a:buNone/>
              <a:defRPr sz="1400" b="1" i="0">
                <a:solidFill>
                  <a:schemeClr val="tx1"/>
                </a:solidFill>
                <a:latin typeface="Arial Black" panose="020B0604020202020204" pitchFamily="34" charset="0"/>
                <a:cs typeface="Arial Black" panose="020B0604020202020204" pitchFamily="34" charset="0"/>
              </a:defRPr>
            </a:lvl5pPr>
          </a:lstStyle>
          <a:p>
            <a:pPr lvl="0"/>
            <a:r>
              <a:rPr lang="en-US"/>
              <a:t>Click to edit Master text styles</a:t>
            </a:r>
          </a:p>
        </p:txBody>
      </p:sp>
      <p:sp>
        <p:nvSpPr>
          <p:cNvPr id="81" name="Content Placeholder 2">
            <a:extLst>
              <a:ext uri="{FF2B5EF4-FFF2-40B4-BE49-F238E27FC236}">
                <a16:creationId xmlns:a16="http://schemas.microsoft.com/office/drawing/2014/main" id="{4BF8F0B3-EC00-C748-8E93-A0C5C29D5928}"/>
              </a:ext>
            </a:extLst>
          </p:cNvPr>
          <p:cNvSpPr>
            <a:spLocks noGrp="1"/>
          </p:cNvSpPr>
          <p:nvPr>
            <p:ph sz="half" idx="39" hasCustomPrompt="1"/>
          </p:nvPr>
        </p:nvSpPr>
        <p:spPr>
          <a:xfrm>
            <a:off x="8139600" y="1805940"/>
            <a:ext cx="3693600" cy="1269769"/>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
        <p:nvSpPr>
          <p:cNvPr id="82" name="Content Placeholder 2">
            <a:extLst>
              <a:ext uri="{FF2B5EF4-FFF2-40B4-BE49-F238E27FC236}">
                <a16:creationId xmlns:a16="http://schemas.microsoft.com/office/drawing/2014/main" id="{F96B7115-CE8A-474F-9088-009BE33C1CFB}"/>
              </a:ext>
            </a:extLst>
          </p:cNvPr>
          <p:cNvSpPr>
            <a:spLocks noGrp="1"/>
          </p:cNvSpPr>
          <p:nvPr>
            <p:ph sz="half" idx="40" hasCustomPrompt="1"/>
          </p:nvPr>
        </p:nvSpPr>
        <p:spPr>
          <a:xfrm>
            <a:off x="8139600" y="4539600"/>
            <a:ext cx="3693600" cy="1269769"/>
          </a:xfrm>
        </p:spPr>
        <p:txBody>
          <a:bodyPr vert="horz" lIns="144000" tIns="144000" rIns="144000" bIns="144000" rtlCol="0">
            <a:noAutofit/>
          </a:bodyPr>
          <a:lstStyle>
            <a:lvl1pPr>
              <a:spcBef>
                <a:spcPts val="500"/>
              </a:spcBef>
              <a:defRPr lang="en-US" sz="1200" dirty="0">
                <a:solidFill>
                  <a:schemeClr val="tx1"/>
                </a:solidFill>
              </a:defRPr>
            </a:lvl1pPr>
            <a:lvl2pPr marL="649287" indent="-285750">
              <a:spcBef>
                <a:spcPts val="500"/>
              </a:spcBef>
              <a:defRPr lang="en-US" sz="1200" kern="1200" baseline="0" dirty="0">
                <a:solidFill>
                  <a:schemeClr val="tx1"/>
                </a:solidFill>
                <a:latin typeface="+mn-lt"/>
                <a:ea typeface="+mn-ea"/>
                <a:cs typeface="+mn-cs"/>
              </a:defRPr>
            </a:lvl2pPr>
            <a:lvl3pPr>
              <a:defRPr lang="en-US" dirty="0"/>
            </a:lvl3pPr>
            <a:lvl4pPr>
              <a:defRPr lang="en-US" dirty="0"/>
            </a:lvl4pPr>
            <a:lvl5pPr>
              <a:defRPr lang="en-US" dirty="0"/>
            </a:lvl5pPr>
          </a:lstStyle>
          <a:p>
            <a:pPr lvl="0"/>
            <a:r>
              <a:rPr lang="en-US" dirty="0"/>
              <a:t>Click to edit text</a:t>
            </a:r>
          </a:p>
          <a:p>
            <a:pPr marL="542925" lvl="1" indent="-179388" algn="l" defTabSz="914400" rtl="0" eaLnBrk="1" latinLnBrk="0" hangingPunct="1">
              <a:lnSpc>
                <a:spcPct val="120000"/>
              </a:lnSpc>
              <a:spcBef>
                <a:spcPts val="500"/>
              </a:spcBef>
              <a:buClr>
                <a:schemeClr val="accent1"/>
              </a:buClr>
              <a:buFont typeface="System Font Regular"/>
              <a:buChar char="-"/>
            </a:pPr>
            <a:r>
              <a:rPr lang="en-US" dirty="0"/>
              <a:t>Second level</a:t>
            </a:r>
          </a:p>
        </p:txBody>
      </p:sp>
    </p:spTree>
    <p:extLst>
      <p:ext uri="{BB962C8B-B14F-4D97-AF65-F5344CB8AC3E}">
        <p14:creationId xmlns:p14="http://schemas.microsoft.com/office/powerpoint/2010/main" val="420899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2 Columns with Top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252799"/>
            <a:ext cx="56344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6196405" y="1252800"/>
            <a:ext cx="5632058" cy="5055925"/>
          </a:xfrm>
        </p:spPr>
        <p:txBody>
          <a:bodyPr/>
          <a:lstStyle/>
          <a:p>
            <a:r>
              <a:rPr lang="en-US" dirty="0"/>
              <a:t>Lorem Ipsum is simply dummy text of the printing and typesetting industry. </a:t>
            </a:r>
          </a:p>
          <a:p>
            <a:r>
              <a:rPr lang="en-US" dirty="0"/>
              <a:t>Lorem Ipsum has been the industry's standard dummy text ever.</a:t>
            </a:r>
          </a:p>
        </p:txBody>
      </p:sp>
      <p:cxnSp>
        <p:nvCxnSpPr>
          <p:cNvPr id="6" name="Straight Connector 5">
            <a:extLst>
              <a:ext uri="{FF2B5EF4-FFF2-40B4-BE49-F238E27FC236}">
                <a16:creationId xmlns:a16="http://schemas.microsoft.com/office/drawing/2014/main" id="{C6BA8A1F-48CF-9945-A70D-6B575BDFBF02}"/>
              </a:ext>
            </a:extLst>
          </p:cNvPr>
          <p:cNvCxnSpPr/>
          <p:nvPr userDrawn="1"/>
        </p:nvCxnSpPr>
        <p:spPr>
          <a:xfrm>
            <a:off x="360000" y="1072800"/>
            <a:ext cx="5621655"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7738225-91EF-FC49-934F-C1F4FD54EC80}"/>
              </a:ext>
            </a:extLst>
          </p:cNvPr>
          <p:cNvCxnSpPr/>
          <p:nvPr userDrawn="1"/>
        </p:nvCxnSpPr>
        <p:spPr>
          <a:xfrm>
            <a:off x="6172200" y="1072800"/>
            <a:ext cx="5621655"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267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tyle 1) 4 Columns" preserve="1">
  <p:cSld name="(Style 1) 4 Columns">
    <p:spTree>
      <p:nvGrpSpPr>
        <p:cNvPr id="1" name="Shape 45"/>
        <p:cNvGrpSpPr/>
        <p:nvPr/>
      </p:nvGrpSpPr>
      <p:grpSpPr>
        <a:xfrm>
          <a:off x="0" y="0"/>
          <a:ext cx="0" cy="0"/>
          <a:chOff x="0" y="0"/>
          <a:chExt cx="0" cy="0"/>
        </a:xfrm>
      </p:grpSpPr>
      <p:sp>
        <p:nvSpPr>
          <p:cNvPr id="46" name="Google Shape;46;p79"/>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79"/>
          <p:cNvSpPr txBox="1">
            <a:spLocks noGrp="1"/>
          </p:cNvSpPr>
          <p:nvPr>
            <p:ph type="body" idx="1"/>
          </p:nvPr>
        </p:nvSpPr>
        <p:spPr>
          <a:xfrm>
            <a:off x="360000" y="1080000"/>
            <a:ext cx="252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79"/>
          <p:cNvSpPr txBox="1">
            <a:spLocks noGrp="1"/>
          </p:cNvSpPr>
          <p:nvPr>
            <p:ph type="body" idx="2"/>
          </p:nvPr>
        </p:nvSpPr>
        <p:spPr>
          <a:xfrm>
            <a:off x="3337980" y="1080000"/>
            <a:ext cx="252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79"/>
          <p:cNvSpPr txBox="1">
            <a:spLocks noGrp="1"/>
          </p:cNvSpPr>
          <p:nvPr>
            <p:ph type="body" idx="3"/>
          </p:nvPr>
        </p:nvSpPr>
        <p:spPr>
          <a:xfrm>
            <a:off x="9293941" y="1080000"/>
            <a:ext cx="252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79"/>
          <p:cNvSpPr txBox="1">
            <a:spLocks noGrp="1"/>
          </p:cNvSpPr>
          <p:nvPr>
            <p:ph type="body" idx="4"/>
          </p:nvPr>
        </p:nvSpPr>
        <p:spPr>
          <a:xfrm>
            <a:off x="6315960" y="1080000"/>
            <a:ext cx="25200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500"/>
              </a:spcBef>
              <a:spcAft>
                <a:spcPts val="0"/>
              </a:spcAft>
              <a:buSzPts val="1600"/>
              <a:buChar char="•"/>
              <a:defRPr/>
            </a:lvl1pPr>
            <a:lvl2pPr marL="914400" lvl="1" indent="-330200" algn="l">
              <a:lnSpc>
                <a:spcPct val="120000"/>
              </a:lnSpc>
              <a:spcBef>
                <a:spcPts val="500"/>
              </a:spcBef>
              <a:spcAft>
                <a:spcPts val="0"/>
              </a:spcAft>
              <a:buSzPts val="1600"/>
              <a:buChar char="-"/>
              <a:defRPr sz="1600">
                <a:solidFill>
                  <a:schemeClr val="dk1"/>
                </a:solidFill>
                <a:latin typeface="Arial"/>
                <a:ea typeface="Arial"/>
                <a:cs typeface="Arial"/>
                <a:sym typeface="Arial"/>
              </a:defRPr>
            </a:lvl2pPr>
            <a:lvl3pPr marL="1371600" lvl="2" indent="-330200" algn="l">
              <a:lnSpc>
                <a:spcPct val="120000"/>
              </a:lnSpc>
              <a:spcBef>
                <a:spcPts val="500"/>
              </a:spcBef>
              <a:spcAft>
                <a:spcPts val="0"/>
              </a:spcAft>
              <a:buSzPts val="1600"/>
              <a:buChar char="•"/>
              <a:defRPr/>
            </a:lvl3pPr>
            <a:lvl4pPr marL="1828800" lvl="3" indent="-330200" algn="l">
              <a:lnSpc>
                <a:spcPct val="120000"/>
              </a:lnSpc>
              <a:spcBef>
                <a:spcPts val="500"/>
              </a:spcBef>
              <a:spcAft>
                <a:spcPts val="0"/>
              </a:spcAft>
              <a:buSzPts val="1600"/>
              <a:buChar char="•"/>
              <a:defRPr/>
            </a:lvl4pPr>
            <a:lvl5pPr marL="2286000" lvl="4" indent="-330200" algn="l">
              <a:lnSpc>
                <a:spcPct val="120000"/>
              </a:lnSpc>
              <a:spcBef>
                <a:spcPts val="500"/>
              </a:spcBef>
              <a:spcAft>
                <a:spcPts val="0"/>
              </a:spcAft>
              <a:buSzPts val="16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79"/>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2796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3 Columns with Top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252799"/>
            <a:ext cx="36756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6" name="Text Placeholder 4">
            <a:extLst>
              <a:ext uri="{FF2B5EF4-FFF2-40B4-BE49-F238E27FC236}">
                <a16:creationId xmlns:a16="http://schemas.microsoft.com/office/drawing/2014/main" id="{F5F23DA4-4D19-B744-B1EB-91AECBD4698C}"/>
              </a:ext>
            </a:extLst>
          </p:cNvPr>
          <p:cNvSpPr>
            <a:spLocks noGrp="1"/>
          </p:cNvSpPr>
          <p:nvPr>
            <p:ph type="body" sz="quarter" idx="12" hasCustomPrompt="1"/>
          </p:nvPr>
        </p:nvSpPr>
        <p:spPr>
          <a:xfrm>
            <a:off x="4248000" y="1252800"/>
            <a:ext cx="36756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8139600" y="1252800"/>
            <a:ext cx="3675600" cy="5055925"/>
          </a:xfrm>
        </p:spPr>
        <p:txBody>
          <a:bodyPr/>
          <a:lstStyle/>
          <a:p>
            <a:r>
              <a:rPr lang="en-US" dirty="0"/>
              <a:t>Lorem Ipsum is simply dummy text of the printing and typesetting industry. </a:t>
            </a:r>
          </a:p>
          <a:p>
            <a:r>
              <a:rPr lang="en-US" dirty="0"/>
              <a:t>Lorem Ipsum has been the industry's standard dummy text ever.</a:t>
            </a:r>
          </a:p>
        </p:txBody>
      </p:sp>
      <p:cxnSp>
        <p:nvCxnSpPr>
          <p:cNvPr id="8" name="Straight Connector 7">
            <a:extLst>
              <a:ext uri="{FF2B5EF4-FFF2-40B4-BE49-F238E27FC236}">
                <a16:creationId xmlns:a16="http://schemas.microsoft.com/office/drawing/2014/main" id="{389979D2-9546-6642-AD97-2A74A163F1C1}"/>
              </a:ext>
            </a:extLst>
          </p:cNvPr>
          <p:cNvCxnSpPr>
            <a:cxnSpLocks/>
          </p:cNvCxnSpPr>
          <p:nvPr userDrawn="1"/>
        </p:nvCxnSpPr>
        <p:spPr>
          <a:xfrm>
            <a:off x="360985" y="1073150"/>
            <a:ext cx="36756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D974731-A111-B147-B264-C017E9221676}"/>
              </a:ext>
            </a:extLst>
          </p:cNvPr>
          <p:cNvCxnSpPr>
            <a:cxnSpLocks/>
          </p:cNvCxnSpPr>
          <p:nvPr userDrawn="1"/>
        </p:nvCxnSpPr>
        <p:spPr>
          <a:xfrm>
            <a:off x="4249663" y="1073150"/>
            <a:ext cx="36756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DB344A-EBA1-4C45-AD43-7654A2D2204E}"/>
              </a:ext>
            </a:extLst>
          </p:cNvPr>
          <p:cNvCxnSpPr>
            <a:cxnSpLocks/>
          </p:cNvCxnSpPr>
          <p:nvPr userDrawn="1"/>
        </p:nvCxnSpPr>
        <p:spPr>
          <a:xfrm>
            <a:off x="8138340" y="1073150"/>
            <a:ext cx="36756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63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4 Columns with Top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lvl1pPr>
              <a:defRPr lang="ar-SA"/>
            </a:lvl1p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252799"/>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1" name="Text Placeholder 4">
            <a:extLst>
              <a:ext uri="{FF2B5EF4-FFF2-40B4-BE49-F238E27FC236}">
                <a16:creationId xmlns:a16="http://schemas.microsoft.com/office/drawing/2014/main" id="{582712A1-BA48-D248-92B3-1C204F8C708A}"/>
              </a:ext>
            </a:extLst>
          </p:cNvPr>
          <p:cNvSpPr>
            <a:spLocks noGrp="1"/>
          </p:cNvSpPr>
          <p:nvPr>
            <p:ph type="body" sz="quarter" idx="12" hasCustomPrompt="1"/>
          </p:nvPr>
        </p:nvSpPr>
        <p:spPr>
          <a:xfrm>
            <a:off x="3272400" y="1252800"/>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2" name="Text Placeholder 4">
            <a:extLst>
              <a:ext uri="{FF2B5EF4-FFF2-40B4-BE49-F238E27FC236}">
                <a16:creationId xmlns:a16="http://schemas.microsoft.com/office/drawing/2014/main" id="{EC58281E-D983-0A4C-A59B-3618E7C00AF6}"/>
              </a:ext>
            </a:extLst>
          </p:cNvPr>
          <p:cNvSpPr>
            <a:spLocks noGrp="1"/>
          </p:cNvSpPr>
          <p:nvPr>
            <p:ph type="body" sz="quarter" idx="13" hasCustomPrompt="1"/>
          </p:nvPr>
        </p:nvSpPr>
        <p:spPr>
          <a:xfrm>
            <a:off x="6181200" y="1252800"/>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sp>
        <p:nvSpPr>
          <p:cNvPr id="13" name="Text Placeholder 4">
            <a:extLst>
              <a:ext uri="{FF2B5EF4-FFF2-40B4-BE49-F238E27FC236}">
                <a16:creationId xmlns:a16="http://schemas.microsoft.com/office/drawing/2014/main" id="{927FDE60-62D3-8247-84CA-F8C9065D70FF}"/>
              </a:ext>
            </a:extLst>
          </p:cNvPr>
          <p:cNvSpPr>
            <a:spLocks noGrp="1"/>
          </p:cNvSpPr>
          <p:nvPr>
            <p:ph type="body" sz="quarter" idx="14" hasCustomPrompt="1"/>
          </p:nvPr>
        </p:nvSpPr>
        <p:spPr>
          <a:xfrm>
            <a:off x="9093600" y="1252800"/>
            <a:ext cx="2736000" cy="5055925"/>
          </a:xfrm>
        </p:spPr>
        <p:txBody>
          <a:bodyPr/>
          <a:lstStyle/>
          <a:p>
            <a:r>
              <a:rPr lang="en-US" dirty="0"/>
              <a:t>Lorem Ipsum is simply dummy text of the printing and typesetting industry. </a:t>
            </a:r>
          </a:p>
          <a:p>
            <a:r>
              <a:rPr lang="en-US" dirty="0"/>
              <a:t>Lorem Ipsum has been the industry's standard dummy text ever.</a:t>
            </a:r>
          </a:p>
        </p:txBody>
      </p:sp>
      <p:cxnSp>
        <p:nvCxnSpPr>
          <p:cNvPr id="14" name="Straight Connector 13">
            <a:extLst>
              <a:ext uri="{FF2B5EF4-FFF2-40B4-BE49-F238E27FC236}">
                <a16:creationId xmlns:a16="http://schemas.microsoft.com/office/drawing/2014/main" id="{E0AE41BC-A002-EF46-BADA-8851CD5BCC04}"/>
              </a:ext>
            </a:extLst>
          </p:cNvPr>
          <p:cNvCxnSpPr>
            <a:cxnSpLocks/>
          </p:cNvCxnSpPr>
          <p:nvPr userDrawn="1"/>
        </p:nvCxnSpPr>
        <p:spPr>
          <a:xfrm>
            <a:off x="360985"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B95E4A1-CF6C-8549-B7F8-2F6837AA270C}"/>
              </a:ext>
            </a:extLst>
          </p:cNvPr>
          <p:cNvCxnSpPr>
            <a:cxnSpLocks/>
          </p:cNvCxnSpPr>
          <p:nvPr userDrawn="1"/>
        </p:nvCxnSpPr>
        <p:spPr>
          <a:xfrm>
            <a:off x="3271478"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4D6CBF8-AB61-FF46-B3DD-477614F69FCC}"/>
              </a:ext>
            </a:extLst>
          </p:cNvPr>
          <p:cNvCxnSpPr>
            <a:cxnSpLocks/>
          </p:cNvCxnSpPr>
          <p:nvPr userDrawn="1"/>
        </p:nvCxnSpPr>
        <p:spPr>
          <a:xfrm>
            <a:off x="6181971"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9884E31-3F24-3545-A4FE-8E176BBB15A0}"/>
              </a:ext>
            </a:extLst>
          </p:cNvPr>
          <p:cNvCxnSpPr>
            <a:cxnSpLocks/>
          </p:cNvCxnSpPr>
          <p:nvPr userDrawn="1"/>
        </p:nvCxnSpPr>
        <p:spPr>
          <a:xfrm>
            <a:off x="9092463" y="1073150"/>
            <a:ext cx="27360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93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lor Box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516DB0-A1F5-6448-9D8A-0B8D235BF230}"/>
              </a:ext>
            </a:extLst>
          </p:cNvPr>
          <p:cNvSpPr/>
          <p:nvPr userDrawn="1"/>
        </p:nvSpPr>
        <p:spPr>
          <a:xfrm>
            <a:off x="352423" y="1073149"/>
            <a:ext cx="11471619" cy="5235575"/>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59999" y="1080000"/>
            <a:ext cx="11471619"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1" name="Straight Connector 10">
            <a:extLst>
              <a:ext uri="{FF2B5EF4-FFF2-40B4-BE49-F238E27FC236}">
                <a16:creationId xmlns:a16="http://schemas.microsoft.com/office/drawing/2014/main" id="{3EC4469E-A388-164E-9305-9E4BB79F10B6}"/>
              </a:ext>
            </a:extLst>
          </p:cNvPr>
          <p:cNvCxnSpPr>
            <a:cxnSpLocks/>
          </p:cNvCxnSpPr>
          <p:nvPr userDrawn="1"/>
        </p:nvCxnSpPr>
        <p:spPr>
          <a:xfrm flipV="1">
            <a:off x="55657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9AAF16F-429D-9A49-A1A9-83820BF9A2DA}"/>
              </a:ext>
            </a:extLst>
          </p:cNvPr>
          <p:cNvSpPr>
            <a:spLocks noGrp="1"/>
          </p:cNvSpPr>
          <p:nvPr>
            <p:ph type="body" sz="quarter" idx="14"/>
          </p:nvPr>
        </p:nvSpPr>
        <p:spPr>
          <a:xfrm>
            <a:off x="359999" y="1879200"/>
            <a:ext cx="11468463" cy="4429525"/>
          </a:xfrm>
        </p:spPr>
        <p:txBody>
          <a:bodyPr lIns="180000" tIns="0" rIns="180000" bIns="180000">
            <a:normAutofit/>
          </a:bodyPr>
          <a:lstStyle>
            <a:lvl1pPr>
              <a:spcBef>
                <a:spcPts val="0"/>
              </a:spcBef>
              <a:spcAft>
                <a:spcPts val="600"/>
              </a:spcAft>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92972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2 Colo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516DB0-A1F5-6448-9D8A-0B8D235BF230}"/>
              </a:ext>
            </a:extLst>
          </p:cNvPr>
          <p:cNvSpPr/>
          <p:nvPr userDrawn="1"/>
        </p:nvSpPr>
        <p:spPr>
          <a:xfrm>
            <a:off x="352424" y="1073149"/>
            <a:ext cx="5634000" cy="5235575"/>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8000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1" name="Straight Connector 10">
            <a:extLst>
              <a:ext uri="{FF2B5EF4-FFF2-40B4-BE49-F238E27FC236}">
                <a16:creationId xmlns:a16="http://schemas.microsoft.com/office/drawing/2014/main" id="{3EC4469E-A388-164E-9305-9E4BB79F10B6}"/>
              </a:ext>
            </a:extLst>
          </p:cNvPr>
          <p:cNvCxnSpPr>
            <a:cxnSpLocks/>
          </p:cNvCxnSpPr>
          <p:nvPr userDrawn="1"/>
        </p:nvCxnSpPr>
        <p:spPr>
          <a:xfrm flipV="1">
            <a:off x="55657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9AAF16F-429D-9A49-A1A9-83820BF9A2DA}"/>
              </a:ext>
            </a:extLst>
          </p:cNvPr>
          <p:cNvSpPr>
            <a:spLocks noGrp="1"/>
          </p:cNvSpPr>
          <p:nvPr>
            <p:ph type="body" sz="quarter" idx="14"/>
          </p:nvPr>
        </p:nvSpPr>
        <p:spPr>
          <a:xfrm>
            <a:off x="360000" y="1879200"/>
            <a:ext cx="5632450" cy="4429525"/>
          </a:xfrm>
        </p:spPr>
        <p:txBody>
          <a:bodyPr lIns="180000" tIns="0" rIns="180000" bIns="180000">
            <a:normAutofit/>
          </a:bodyPr>
          <a:lstStyle>
            <a:lvl1pPr>
              <a:spcBef>
                <a:spcPts val="0"/>
              </a:spcBef>
              <a:spcAft>
                <a:spcPts val="600"/>
              </a:spcAft>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846C9E07-D8BC-3E44-B996-6A08649C1478}"/>
              </a:ext>
            </a:extLst>
          </p:cNvPr>
          <p:cNvSpPr/>
          <p:nvPr userDrawn="1"/>
        </p:nvSpPr>
        <p:spPr>
          <a:xfrm>
            <a:off x="6174784" y="1073149"/>
            <a:ext cx="5634000" cy="5235575"/>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16" name="Text Placeholder 4">
            <a:extLst>
              <a:ext uri="{FF2B5EF4-FFF2-40B4-BE49-F238E27FC236}">
                <a16:creationId xmlns:a16="http://schemas.microsoft.com/office/drawing/2014/main" id="{40D26D0B-DCE1-F24F-901A-9319BB40E3DF}"/>
              </a:ext>
            </a:extLst>
          </p:cNvPr>
          <p:cNvSpPr>
            <a:spLocks noGrp="1"/>
          </p:cNvSpPr>
          <p:nvPr>
            <p:ph type="body" sz="quarter" idx="15" hasCustomPrompt="1"/>
          </p:nvPr>
        </p:nvSpPr>
        <p:spPr>
          <a:xfrm>
            <a:off x="6182360" y="108000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7" name="Straight Connector 16">
            <a:extLst>
              <a:ext uri="{FF2B5EF4-FFF2-40B4-BE49-F238E27FC236}">
                <a16:creationId xmlns:a16="http://schemas.microsoft.com/office/drawing/2014/main" id="{E68B1A3D-A89F-EC4B-991B-A70116AE5CE4}"/>
              </a:ext>
            </a:extLst>
          </p:cNvPr>
          <p:cNvCxnSpPr>
            <a:cxnSpLocks/>
          </p:cNvCxnSpPr>
          <p:nvPr userDrawn="1"/>
        </p:nvCxnSpPr>
        <p:spPr>
          <a:xfrm flipV="1">
            <a:off x="637893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61BF98EE-D932-1342-923A-A7CB76EED73D}"/>
              </a:ext>
            </a:extLst>
          </p:cNvPr>
          <p:cNvSpPr>
            <a:spLocks noGrp="1"/>
          </p:cNvSpPr>
          <p:nvPr>
            <p:ph type="body" sz="quarter" idx="16"/>
          </p:nvPr>
        </p:nvSpPr>
        <p:spPr>
          <a:xfrm>
            <a:off x="6182360" y="1879200"/>
            <a:ext cx="5632450" cy="442952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Tree>
    <p:extLst>
      <p:ext uri="{BB962C8B-B14F-4D97-AF65-F5344CB8AC3E}">
        <p14:creationId xmlns:p14="http://schemas.microsoft.com/office/powerpoint/2010/main" val="133599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72">
          <p15:clr>
            <a:srgbClr val="FBAE40"/>
          </p15:clr>
        </p15:guide>
        <p15:guide id="2" pos="388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4 Colo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516DB0-A1F5-6448-9D8A-0B8D235BF230}"/>
              </a:ext>
            </a:extLst>
          </p:cNvPr>
          <p:cNvSpPr/>
          <p:nvPr userDrawn="1"/>
        </p:nvSpPr>
        <p:spPr>
          <a:xfrm>
            <a:off x="352424" y="1073150"/>
            <a:ext cx="56340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9D096C0B-9A3A-D34B-BFBD-0DAC85A01A4F}"/>
              </a:ext>
            </a:extLst>
          </p:cNvPr>
          <p:cNvSpPr>
            <a:spLocks noGrp="1"/>
          </p:cNvSpPr>
          <p:nvPr>
            <p:ph type="title"/>
          </p:nvPr>
        </p:nvSpPr>
        <p:spPr/>
        <p:txBody>
          <a:body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8000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1" name="Straight Connector 10">
            <a:extLst>
              <a:ext uri="{FF2B5EF4-FFF2-40B4-BE49-F238E27FC236}">
                <a16:creationId xmlns:a16="http://schemas.microsoft.com/office/drawing/2014/main" id="{3EC4469E-A388-164E-9305-9E4BB79F10B6}"/>
              </a:ext>
            </a:extLst>
          </p:cNvPr>
          <p:cNvCxnSpPr>
            <a:cxnSpLocks/>
          </p:cNvCxnSpPr>
          <p:nvPr userDrawn="1"/>
        </p:nvCxnSpPr>
        <p:spPr>
          <a:xfrm flipV="1">
            <a:off x="55657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9AAF16F-429D-9A49-A1A9-83820BF9A2DA}"/>
              </a:ext>
            </a:extLst>
          </p:cNvPr>
          <p:cNvSpPr>
            <a:spLocks noGrp="1"/>
          </p:cNvSpPr>
          <p:nvPr>
            <p:ph type="body" sz="quarter" idx="14"/>
          </p:nvPr>
        </p:nvSpPr>
        <p:spPr>
          <a:xfrm>
            <a:off x="360000" y="1879200"/>
            <a:ext cx="5632450" cy="1717675"/>
          </a:xfrm>
        </p:spPr>
        <p:txBody>
          <a:bodyPr lIns="180000" tIns="0" rIns="180000" bIns="180000">
            <a:normAutofit/>
          </a:bodyPr>
          <a:lstStyle>
            <a:lvl1pPr>
              <a:spcBef>
                <a:spcPts val="0"/>
              </a:spcBef>
              <a:spcAft>
                <a:spcPts val="600"/>
              </a:spcAft>
              <a:defRPr sz="1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15" name="Rectangle 14">
            <a:extLst>
              <a:ext uri="{FF2B5EF4-FFF2-40B4-BE49-F238E27FC236}">
                <a16:creationId xmlns:a16="http://schemas.microsoft.com/office/drawing/2014/main" id="{846C9E07-D8BC-3E44-B996-6A08649C1478}"/>
              </a:ext>
            </a:extLst>
          </p:cNvPr>
          <p:cNvSpPr/>
          <p:nvPr userDrawn="1"/>
        </p:nvSpPr>
        <p:spPr>
          <a:xfrm>
            <a:off x="6174784" y="1073150"/>
            <a:ext cx="56340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16" name="Text Placeholder 4">
            <a:extLst>
              <a:ext uri="{FF2B5EF4-FFF2-40B4-BE49-F238E27FC236}">
                <a16:creationId xmlns:a16="http://schemas.microsoft.com/office/drawing/2014/main" id="{40D26D0B-DCE1-F24F-901A-9319BB40E3DF}"/>
              </a:ext>
            </a:extLst>
          </p:cNvPr>
          <p:cNvSpPr>
            <a:spLocks noGrp="1"/>
          </p:cNvSpPr>
          <p:nvPr>
            <p:ph type="body" sz="quarter" idx="15" hasCustomPrompt="1"/>
          </p:nvPr>
        </p:nvSpPr>
        <p:spPr>
          <a:xfrm>
            <a:off x="6182360" y="108000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17" name="Straight Connector 16">
            <a:extLst>
              <a:ext uri="{FF2B5EF4-FFF2-40B4-BE49-F238E27FC236}">
                <a16:creationId xmlns:a16="http://schemas.microsoft.com/office/drawing/2014/main" id="{E68B1A3D-A89F-EC4B-991B-A70116AE5CE4}"/>
              </a:ext>
            </a:extLst>
          </p:cNvPr>
          <p:cNvCxnSpPr>
            <a:cxnSpLocks/>
          </p:cNvCxnSpPr>
          <p:nvPr userDrawn="1"/>
        </p:nvCxnSpPr>
        <p:spPr>
          <a:xfrm flipV="1">
            <a:off x="6378937" y="168084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3">
            <a:extLst>
              <a:ext uri="{FF2B5EF4-FFF2-40B4-BE49-F238E27FC236}">
                <a16:creationId xmlns:a16="http://schemas.microsoft.com/office/drawing/2014/main" id="{61BF98EE-D932-1342-923A-A7CB76EED73D}"/>
              </a:ext>
            </a:extLst>
          </p:cNvPr>
          <p:cNvSpPr>
            <a:spLocks noGrp="1"/>
          </p:cNvSpPr>
          <p:nvPr>
            <p:ph type="body" sz="quarter" idx="16"/>
          </p:nvPr>
        </p:nvSpPr>
        <p:spPr>
          <a:xfrm>
            <a:off x="6182360" y="1879200"/>
            <a:ext cx="5632450" cy="171767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
        <p:nvSpPr>
          <p:cNvPr id="19" name="Rectangle 18">
            <a:extLst>
              <a:ext uri="{FF2B5EF4-FFF2-40B4-BE49-F238E27FC236}">
                <a16:creationId xmlns:a16="http://schemas.microsoft.com/office/drawing/2014/main" id="{374E673A-F815-2842-B0C2-A7024045B334}"/>
              </a:ext>
            </a:extLst>
          </p:cNvPr>
          <p:cNvSpPr/>
          <p:nvPr userDrawn="1"/>
        </p:nvSpPr>
        <p:spPr>
          <a:xfrm>
            <a:off x="352424" y="3786270"/>
            <a:ext cx="56340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20" name="Text Placeholder 4">
            <a:extLst>
              <a:ext uri="{FF2B5EF4-FFF2-40B4-BE49-F238E27FC236}">
                <a16:creationId xmlns:a16="http://schemas.microsoft.com/office/drawing/2014/main" id="{A03A8D2E-BA10-C04F-8920-C9BB4EDA6A73}"/>
              </a:ext>
            </a:extLst>
          </p:cNvPr>
          <p:cNvSpPr>
            <a:spLocks noGrp="1"/>
          </p:cNvSpPr>
          <p:nvPr>
            <p:ph type="body" sz="quarter" idx="17" hasCustomPrompt="1"/>
          </p:nvPr>
        </p:nvSpPr>
        <p:spPr>
          <a:xfrm>
            <a:off x="360000" y="379312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21" name="Straight Connector 20">
            <a:extLst>
              <a:ext uri="{FF2B5EF4-FFF2-40B4-BE49-F238E27FC236}">
                <a16:creationId xmlns:a16="http://schemas.microsoft.com/office/drawing/2014/main" id="{76988737-2D9E-FC47-8377-E433AE6534D6}"/>
              </a:ext>
            </a:extLst>
          </p:cNvPr>
          <p:cNvCxnSpPr>
            <a:cxnSpLocks/>
          </p:cNvCxnSpPr>
          <p:nvPr userDrawn="1"/>
        </p:nvCxnSpPr>
        <p:spPr>
          <a:xfrm flipV="1">
            <a:off x="556577" y="439396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 Placeholder 13">
            <a:extLst>
              <a:ext uri="{FF2B5EF4-FFF2-40B4-BE49-F238E27FC236}">
                <a16:creationId xmlns:a16="http://schemas.microsoft.com/office/drawing/2014/main" id="{841FBDD8-D85D-984B-882C-3B9A54F58920}"/>
              </a:ext>
            </a:extLst>
          </p:cNvPr>
          <p:cNvSpPr>
            <a:spLocks noGrp="1"/>
          </p:cNvSpPr>
          <p:nvPr>
            <p:ph type="body" sz="quarter" idx="18"/>
          </p:nvPr>
        </p:nvSpPr>
        <p:spPr>
          <a:xfrm>
            <a:off x="360000" y="4592320"/>
            <a:ext cx="5632450" cy="171767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
        <p:nvSpPr>
          <p:cNvPr id="23" name="Rectangle 22">
            <a:extLst>
              <a:ext uri="{FF2B5EF4-FFF2-40B4-BE49-F238E27FC236}">
                <a16:creationId xmlns:a16="http://schemas.microsoft.com/office/drawing/2014/main" id="{9D10A3AD-2404-E74B-BCB3-FC9E6B9F22D8}"/>
              </a:ext>
            </a:extLst>
          </p:cNvPr>
          <p:cNvSpPr/>
          <p:nvPr userDrawn="1"/>
        </p:nvSpPr>
        <p:spPr>
          <a:xfrm>
            <a:off x="6174784" y="3786270"/>
            <a:ext cx="5634000" cy="2520000"/>
          </a:xfrm>
          <a:prstGeom prst="rect">
            <a:avLst/>
          </a:prstGeom>
          <a:solidFill>
            <a:schemeClr val="bg2"/>
          </a:solidFill>
          <a:ln>
            <a:noFill/>
          </a:ln>
          <a:effectLst>
            <a:innerShdw dist="25400" dir="5400000">
              <a:schemeClr val="accent2"/>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ar-SA"/>
          </a:p>
        </p:txBody>
      </p:sp>
      <p:sp>
        <p:nvSpPr>
          <p:cNvPr id="24" name="Text Placeholder 4">
            <a:extLst>
              <a:ext uri="{FF2B5EF4-FFF2-40B4-BE49-F238E27FC236}">
                <a16:creationId xmlns:a16="http://schemas.microsoft.com/office/drawing/2014/main" id="{1EF973C2-C6DA-934B-BF19-E43FF4222F45}"/>
              </a:ext>
            </a:extLst>
          </p:cNvPr>
          <p:cNvSpPr>
            <a:spLocks noGrp="1"/>
          </p:cNvSpPr>
          <p:nvPr>
            <p:ph type="body" sz="quarter" idx="19" hasCustomPrompt="1"/>
          </p:nvPr>
        </p:nvSpPr>
        <p:spPr>
          <a:xfrm>
            <a:off x="6182360" y="3793120"/>
            <a:ext cx="5634000" cy="779280"/>
          </a:xfrm>
        </p:spPr>
        <p:txBody>
          <a:bodyPr lIns="180000" tIns="180000" rIns="180000" bIns="180000"/>
          <a:lstStyle>
            <a:lvl1pPr marL="0" indent="0">
              <a:spcBef>
                <a:spcPts val="600"/>
              </a:spcBef>
              <a:buNone/>
              <a:defRPr b="1">
                <a:solidFill>
                  <a:schemeClr val="tx1"/>
                </a:solidFill>
              </a:defRPr>
            </a:lvl1pPr>
          </a:lstStyle>
          <a:p>
            <a:r>
              <a:rPr lang="en-US" dirty="0"/>
              <a:t>Lorem Ipsum</a:t>
            </a:r>
          </a:p>
        </p:txBody>
      </p:sp>
      <p:cxnSp>
        <p:nvCxnSpPr>
          <p:cNvPr id="25" name="Straight Connector 24">
            <a:extLst>
              <a:ext uri="{FF2B5EF4-FFF2-40B4-BE49-F238E27FC236}">
                <a16:creationId xmlns:a16="http://schemas.microsoft.com/office/drawing/2014/main" id="{88915996-D79C-EB45-8ABB-452B8BFB1819}"/>
              </a:ext>
            </a:extLst>
          </p:cNvPr>
          <p:cNvCxnSpPr>
            <a:cxnSpLocks/>
          </p:cNvCxnSpPr>
          <p:nvPr userDrawn="1"/>
        </p:nvCxnSpPr>
        <p:spPr>
          <a:xfrm flipV="1">
            <a:off x="6378937" y="4393965"/>
            <a:ext cx="276543"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 Placeholder 13">
            <a:extLst>
              <a:ext uri="{FF2B5EF4-FFF2-40B4-BE49-F238E27FC236}">
                <a16:creationId xmlns:a16="http://schemas.microsoft.com/office/drawing/2014/main" id="{CCF33EFA-BFB0-764D-904D-7CE8EA4DAB9E}"/>
              </a:ext>
            </a:extLst>
          </p:cNvPr>
          <p:cNvSpPr>
            <a:spLocks noGrp="1"/>
          </p:cNvSpPr>
          <p:nvPr>
            <p:ph type="body" sz="quarter" idx="20"/>
          </p:nvPr>
        </p:nvSpPr>
        <p:spPr>
          <a:xfrm>
            <a:off x="6182360" y="4592320"/>
            <a:ext cx="5632450" cy="1717675"/>
          </a:xfrm>
        </p:spPr>
        <p:txBody>
          <a:bodyPr lIns="180000" tIns="0" rIns="180000" bIns="180000">
            <a:normAutofit/>
          </a:bodyPr>
          <a:lstStyle>
            <a:lvl1pPr marL="180000" indent="-180000">
              <a:defRPr lang="en-GB" sz="1200" kern="1200" baseline="0" dirty="0" smtClean="0">
                <a:solidFill>
                  <a:schemeClr val="tx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180000" lvl="0" indent="-180000" algn="l" defTabSz="914400" rtl="0" eaLnBrk="1" latinLnBrk="0" hangingPunct="1">
              <a:lnSpc>
                <a:spcPct val="120000"/>
              </a:lnSpc>
              <a:spcBef>
                <a:spcPts val="0"/>
              </a:spcBef>
              <a:spcAft>
                <a:spcPts val="600"/>
              </a:spcAft>
              <a:buClr>
                <a:schemeClr val="accent1"/>
              </a:buClr>
              <a:buFont typeface="Arial" panose="020B0604020202020204" pitchFamily="34" charset="0"/>
              <a:buChar char="\"/>
            </a:pPr>
            <a:r>
              <a:rPr lang="en-US"/>
              <a:t>Click to edit Master text styles</a:t>
            </a:r>
          </a:p>
        </p:txBody>
      </p:sp>
    </p:spTree>
    <p:extLst>
      <p:ext uri="{BB962C8B-B14F-4D97-AF65-F5344CB8AC3E}">
        <p14:creationId xmlns:p14="http://schemas.microsoft.com/office/powerpoint/2010/main" val="306502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2 Column with Icons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50F8DB22-AF0C-F945-B27F-11D07218AF1C}"/>
              </a:ext>
            </a:extLst>
          </p:cNvPr>
          <p:cNvSpPr>
            <a:spLocks noGrp="1"/>
          </p:cNvSpPr>
          <p:nvPr>
            <p:ph type="body" sz="quarter" idx="11" hasCustomPrompt="1"/>
          </p:nvPr>
        </p:nvSpPr>
        <p:spPr>
          <a:xfrm>
            <a:off x="352425" y="1073150"/>
            <a:ext cx="11476038" cy="859210"/>
          </a:xfrm>
        </p:spPr>
        <p:txBody>
          <a:bodyPr>
            <a:spAutoFit/>
          </a:bodyPr>
          <a:lstStyle>
            <a:lvl1pPr marL="0" indent="0">
              <a:lnSpc>
                <a:spcPct val="120000"/>
              </a:lnSpc>
              <a:spcBef>
                <a:spcPts val="0"/>
              </a:spcBef>
              <a:buNone/>
              <a:defRPr/>
            </a:lvl1pPr>
          </a:lstStyle>
          <a:p>
            <a:pPr>
              <a:lnSpc>
                <a:spcPct val="120000"/>
              </a:lnSpc>
            </a:pPr>
            <a:r>
              <a:rPr lang="en-IN" sz="1600" dirty="0">
                <a:solidFill>
                  <a:schemeClr val="bg2"/>
                </a:solidFill>
                <a:effectLst/>
                <a:ea typeface="Calibri" panose="020F0502020204030204" pitchFamily="34" charset="0"/>
              </a:rPr>
              <a:t>Here’s a paragraph of introductory text, which provides a narrative and description of what’s </a:t>
            </a:r>
            <a:r>
              <a:rPr lang="en-IN" sz="1600" dirty="0">
                <a:solidFill>
                  <a:schemeClr val="bg2"/>
                </a:solidFill>
                <a:ea typeface="Calibri" panose="020F0502020204030204" pitchFamily="34" charset="0"/>
              </a:rPr>
              <a:t>below. Here’s a paragraph of introductory text, which provides a narrative and description of what’s below. Here’s a paragraph of introductory text, which provides a narrative and description of what’s below.</a:t>
            </a:r>
          </a:p>
        </p:txBody>
      </p:sp>
      <p:sp>
        <p:nvSpPr>
          <p:cNvPr id="4" name="Title 3">
            <a:extLst>
              <a:ext uri="{FF2B5EF4-FFF2-40B4-BE49-F238E27FC236}">
                <a16:creationId xmlns:a16="http://schemas.microsoft.com/office/drawing/2014/main" id="{D74B8E5D-DECE-A74B-862F-5022D26A1076}"/>
              </a:ext>
            </a:extLst>
          </p:cNvPr>
          <p:cNvSpPr>
            <a:spLocks noGrp="1"/>
          </p:cNvSpPr>
          <p:nvPr>
            <p:ph type="title"/>
          </p:nvPr>
        </p:nvSpPr>
        <p:spPr/>
        <p:txBody>
          <a:bodyPr/>
          <a:lstStyle/>
          <a:p>
            <a:r>
              <a:rPr lang="en-US"/>
              <a:t>Click to edit Master title style</a:t>
            </a:r>
          </a:p>
        </p:txBody>
      </p:sp>
      <p:sp>
        <p:nvSpPr>
          <p:cNvPr id="19" name="Rectangle 18">
            <a:extLst>
              <a:ext uri="{FF2B5EF4-FFF2-40B4-BE49-F238E27FC236}">
                <a16:creationId xmlns:a16="http://schemas.microsoft.com/office/drawing/2014/main" id="{31199122-1DA4-4618-9B84-EB198284948E}"/>
              </a:ext>
            </a:extLst>
          </p:cNvPr>
          <p:cNvSpPr/>
          <p:nvPr userDrawn="1"/>
        </p:nvSpPr>
        <p:spPr>
          <a:xfrm>
            <a:off x="352424" y="2329916"/>
            <a:ext cx="5633999" cy="3978809"/>
          </a:xfrm>
          <a:prstGeom prst="rect">
            <a:avLst/>
          </a:prstGeom>
          <a:solidFill>
            <a:schemeClr val="bg2"/>
          </a:solidFill>
          <a:ln>
            <a:noFill/>
          </a:ln>
          <a:effectLst>
            <a:outerShdw dist="25400" dir="54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a:lnSpc>
                <a:spcPct val="120000"/>
              </a:lnSpc>
            </a:pPr>
            <a:endParaRPr lang="en-US" sz="1400" dirty="0">
              <a:solidFill>
                <a:schemeClr val="tx2">
                  <a:lumMod val="60000"/>
                  <a:lumOff val="40000"/>
                </a:schemeClr>
              </a:solidFill>
            </a:endParaRPr>
          </a:p>
        </p:txBody>
      </p:sp>
      <p:sp>
        <p:nvSpPr>
          <p:cNvPr id="21" name="Text Placeholder 19">
            <a:extLst>
              <a:ext uri="{FF2B5EF4-FFF2-40B4-BE49-F238E27FC236}">
                <a16:creationId xmlns:a16="http://schemas.microsoft.com/office/drawing/2014/main" id="{8769B089-8D6C-496F-B284-E547BCDAFD39}"/>
              </a:ext>
            </a:extLst>
          </p:cNvPr>
          <p:cNvSpPr>
            <a:spLocks noGrp="1"/>
          </p:cNvSpPr>
          <p:nvPr>
            <p:ph type="body" sz="quarter" idx="15" hasCustomPrompt="1"/>
          </p:nvPr>
        </p:nvSpPr>
        <p:spPr>
          <a:xfrm>
            <a:off x="360363" y="2329915"/>
            <a:ext cx="5626060" cy="1503993"/>
          </a:xfrm>
        </p:spPr>
        <p:txBody>
          <a:bodyPr wrap="square" lIns="180000" tIns="1080000" rIns="180000">
            <a:spAutoFit/>
          </a:bodyPr>
          <a:lstStyle>
            <a:lvl1pPr marL="0" indent="0">
              <a:buNone/>
              <a:defRPr sz="2400" b="1" i="0" spc="-100" baseline="0">
                <a:solidFill>
                  <a:schemeClr val="tx1"/>
                </a:solidFill>
                <a:latin typeface="Arial Black" panose="020B0604020202020204" pitchFamily="34" charset="0"/>
                <a:cs typeface="Arial Black" panose="020B0604020202020204" pitchFamily="34" charset="0"/>
              </a:defRPr>
            </a:lvl1pPr>
          </a:lstStyle>
          <a:p>
            <a:pPr lvl="0"/>
            <a:r>
              <a:rPr lang="en-GB" dirty="0"/>
              <a:t>Column title</a:t>
            </a:r>
            <a:endParaRPr lang="ar-SA" dirty="0"/>
          </a:p>
        </p:txBody>
      </p:sp>
      <p:sp>
        <p:nvSpPr>
          <p:cNvPr id="25" name="Text Placeholder 19">
            <a:extLst>
              <a:ext uri="{FF2B5EF4-FFF2-40B4-BE49-F238E27FC236}">
                <a16:creationId xmlns:a16="http://schemas.microsoft.com/office/drawing/2014/main" id="{C3CCB4C0-0087-4150-AB91-39CB42391CBD}"/>
              </a:ext>
            </a:extLst>
          </p:cNvPr>
          <p:cNvSpPr>
            <a:spLocks noGrp="1"/>
          </p:cNvSpPr>
          <p:nvPr>
            <p:ph type="body" sz="quarter" idx="16" hasCustomPrompt="1"/>
          </p:nvPr>
        </p:nvSpPr>
        <p:spPr>
          <a:xfrm>
            <a:off x="360363" y="3833908"/>
            <a:ext cx="5626060"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lvl="0"/>
            <a:r>
              <a:rPr lang="en-US" dirty="0"/>
              <a:t>List of a few</a:t>
            </a:r>
            <a:endParaRPr lang="ar-SA" dirty="0"/>
          </a:p>
        </p:txBody>
      </p:sp>
      <p:sp>
        <p:nvSpPr>
          <p:cNvPr id="28" name="Rectangle 27">
            <a:extLst>
              <a:ext uri="{FF2B5EF4-FFF2-40B4-BE49-F238E27FC236}">
                <a16:creationId xmlns:a16="http://schemas.microsoft.com/office/drawing/2014/main" id="{71044B6E-A509-4807-8813-8EC112CE2EC9}"/>
              </a:ext>
            </a:extLst>
          </p:cNvPr>
          <p:cNvSpPr/>
          <p:nvPr userDrawn="1"/>
        </p:nvSpPr>
        <p:spPr>
          <a:xfrm>
            <a:off x="6192958" y="2329916"/>
            <a:ext cx="5620982" cy="3978809"/>
          </a:xfrm>
          <a:prstGeom prst="rect">
            <a:avLst/>
          </a:prstGeom>
          <a:solidFill>
            <a:schemeClr val="bg2"/>
          </a:solidFill>
          <a:ln>
            <a:noFill/>
          </a:ln>
          <a:effectLst>
            <a:outerShdw dist="25400" dir="54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lvl="0">
              <a:lnSpc>
                <a:spcPct val="120000"/>
              </a:lnSpc>
            </a:pPr>
            <a:endParaRPr lang="en-US" sz="1400" dirty="0">
              <a:solidFill>
                <a:schemeClr val="tx2">
                  <a:lumMod val="60000"/>
                  <a:lumOff val="40000"/>
                </a:schemeClr>
              </a:solidFill>
            </a:endParaRPr>
          </a:p>
        </p:txBody>
      </p:sp>
      <p:sp>
        <p:nvSpPr>
          <p:cNvPr id="29" name="Picture Placeholder 9">
            <a:extLst>
              <a:ext uri="{FF2B5EF4-FFF2-40B4-BE49-F238E27FC236}">
                <a16:creationId xmlns:a16="http://schemas.microsoft.com/office/drawing/2014/main" id="{1B0E5883-4EF2-4C4A-A983-C123D2FDED43}"/>
              </a:ext>
            </a:extLst>
          </p:cNvPr>
          <p:cNvSpPr>
            <a:spLocks noGrp="1"/>
          </p:cNvSpPr>
          <p:nvPr>
            <p:ph type="pic" sz="quarter" idx="12" hasCustomPrompt="1"/>
          </p:nvPr>
        </p:nvSpPr>
        <p:spPr>
          <a:xfrm>
            <a:off x="550800"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30" name="Text Placeholder 19">
            <a:extLst>
              <a:ext uri="{FF2B5EF4-FFF2-40B4-BE49-F238E27FC236}">
                <a16:creationId xmlns:a16="http://schemas.microsoft.com/office/drawing/2014/main" id="{DD588FA5-8E58-4590-8F29-E5760D4C6D9D}"/>
              </a:ext>
            </a:extLst>
          </p:cNvPr>
          <p:cNvSpPr>
            <a:spLocks noGrp="1"/>
          </p:cNvSpPr>
          <p:nvPr>
            <p:ph type="body" sz="quarter" idx="19" hasCustomPrompt="1"/>
          </p:nvPr>
        </p:nvSpPr>
        <p:spPr>
          <a:xfrm>
            <a:off x="6192957" y="2329915"/>
            <a:ext cx="5626063" cy="1503993"/>
          </a:xfrm>
        </p:spPr>
        <p:txBody>
          <a:bodyPr wrap="square" lIns="180000" tIns="1080000" rIns="180000">
            <a:spAutoFit/>
          </a:bodyPr>
          <a:lstStyle>
            <a:lvl1pPr marL="0" indent="0">
              <a:buNone/>
              <a:defRPr lang="ar-SA" sz="2400" b="1" i="0" kern="1200" spc="-100" baseline="0" dirty="0" smtClean="0">
                <a:solidFill>
                  <a:schemeClr val="tx1"/>
                </a:solidFill>
                <a:latin typeface="Arial Black" panose="020B0604020202020204" pitchFamily="34" charset="0"/>
                <a:ea typeface="+mn-ea"/>
                <a:cs typeface="Arial Black" panose="020B0604020202020204" pitchFamily="34" charset="0"/>
              </a:defRPr>
            </a:lvl1pPr>
          </a:lstStyle>
          <a:p>
            <a:pPr marL="0" lvl="0" indent="0" algn="l" defTabSz="914400" rtl="0" eaLnBrk="1" latinLnBrk="0" hangingPunct="1">
              <a:lnSpc>
                <a:spcPct val="120000"/>
              </a:lnSpc>
              <a:spcBef>
                <a:spcPts val="1200"/>
              </a:spcBef>
              <a:buClr>
                <a:schemeClr val="accent1"/>
              </a:buClr>
              <a:buFont typeface="Arial" panose="020B0604020202020204" pitchFamily="34" charset="0"/>
              <a:buNone/>
            </a:pPr>
            <a:r>
              <a:rPr lang="en-GB" dirty="0"/>
              <a:t>Column title</a:t>
            </a:r>
            <a:endParaRPr lang="ar-SA" dirty="0"/>
          </a:p>
        </p:txBody>
      </p:sp>
      <p:sp>
        <p:nvSpPr>
          <p:cNvPr id="31" name="Text Placeholder 19">
            <a:extLst>
              <a:ext uri="{FF2B5EF4-FFF2-40B4-BE49-F238E27FC236}">
                <a16:creationId xmlns:a16="http://schemas.microsoft.com/office/drawing/2014/main" id="{7BF001DB-184C-4BA8-B916-DF3C1064ECB8}"/>
              </a:ext>
            </a:extLst>
          </p:cNvPr>
          <p:cNvSpPr>
            <a:spLocks noGrp="1"/>
          </p:cNvSpPr>
          <p:nvPr>
            <p:ph type="body" sz="quarter" idx="20" hasCustomPrompt="1"/>
          </p:nvPr>
        </p:nvSpPr>
        <p:spPr>
          <a:xfrm>
            <a:off x="6185023" y="3833908"/>
            <a:ext cx="5633998"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marL="172800" lvl="0" indent="-172800" algn="l" defTabSz="914400" rtl="0" eaLnBrk="1" latinLnBrk="0" hangingPunct="1">
              <a:lnSpc>
                <a:spcPct val="120000"/>
              </a:lnSpc>
              <a:spcBef>
                <a:spcPts val="1200"/>
              </a:spcBef>
              <a:buClr>
                <a:schemeClr val="accent1"/>
              </a:buClr>
              <a:buFont typeface="System Font Regular"/>
              <a:buChar char="\"/>
            </a:pPr>
            <a:r>
              <a:rPr lang="en-US" dirty="0"/>
              <a:t>List of a few</a:t>
            </a:r>
            <a:endParaRPr lang="ar-SA" dirty="0"/>
          </a:p>
        </p:txBody>
      </p:sp>
      <p:sp>
        <p:nvSpPr>
          <p:cNvPr id="32" name="Picture Placeholder 9">
            <a:extLst>
              <a:ext uri="{FF2B5EF4-FFF2-40B4-BE49-F238E27FC236}">
                <a16:creationId xmlns:a16="http://schemas.microsoft.com/office/drawing/2014/main" id="{E91BF245-9B3A-4127-97EF-7A6EF90217D9}"/>
              </a:ext>
            </a:extLst>
          </p:cNvPr>
          <p:cNvSpPr>
            <a:spLocks noGrp="1"/>
          </p:cNvSpPr>
          <p:nvPr>
            <p:ph type="pic" sz="quarter" idx="14" hasCustomPrompt="1"/>
          </p:nvPr>
        </p:nvSpPr>
        <p:spPr>
          <a:xfrm>
            <a:off x="6379964"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Tree>
    <p:extLst>
      <p:ext uri="{BB962C8B-B14F-4D97-AF65-F5344CB8AC3E}">
        <p14:creationId xmlns:p14="http://schemas.microsoft.com/office/powerpoint/2010/main" val="28983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ext 3 Column with Icons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9BA10CF-32D3-674C-8018-AF2B8C0BBF1E}"/>
              </a:ext>
            </a:extLst>
          </p:cNvPr>
          <p:cNvSpPr/>
          <p:nvPr userDrawn="1"/>
        </p:nvSpPr>
        <p:spPr>
          <a:xfrm>
            <a:off x="352425" y="2329916"/>
            <a:ext cx="3690000" cy="3978809"/>
          </a:xfrm>
          <a:prstGeom prst="rect">
            <a:avLst/>
          </a:prstGeom>
          <a:solidFill>
            <a:schemeClr val="bg2"/>
          </a:solidFill>
          <a:ln>
            <a:noFill/>
          </a:ln>
          <a:effectLst>
            <a:outerShdw dist="25400" dir="54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a:lnSpc>
                <a:spcPct val="120000"/>
              </a:lnSpc>
            </a:pPr>
            <a:endParaRPr lang="en-US" sz="1400" dirty="0">
              <a:solidFill>
                <a:schemeClr val="tx2">
                  <a:lumMod val="60000"/>
                  <a:lumOff val="40000"/>
                </a:schemeClr>
              </a:solidFill>
            </a:endParaRPr>
          </a:p>
        </p:txBody>
      </p:sp>
      <p:sp>
        <p:nvSpPr>
          <p:cNvPr id="20" name="Text Placeholder 19">
            <a:extLst>
              <a:ext uri="{FF2B5EF4-FFF2-40B4-BE49-F238E27FC236}">
                <a16:creationId xmlns:a16="http://schemas.microsoft.com/office/drawing/2014/main" id="{3C50985C-0DF8-6547-BBC5-3DBEE4EFDAC6}"/>
              </a:ext>
            </a:extLst>
          </p:cNvPr>
          <p:cNvSpPr>
            <a:spLocks noGrp="1"/>
          </p:cNvSpPr>
          <p:nvPr>
            <p:ph type="body" sz="quarter" idx="15" hasCustomPrompt="1"/>
          </p:nvPr>
        </p:nvSpPr>
        <p:spPr>
          <a:xfrm>
            <a:off x="360363" y="2329915"/>
            <a:ext cx="3682061" cy="1503993"/>
          </a:xfrm>
        </p:spPr>
        <p:txBody>
          <a:bodyPr wrap="square" lIns="180000" tIns="1080000" rIns="180000">
            <a:spAutoFit/>
          </a:bodyPr>
          <a:lstStyle>
            <a:lvl1pPr marL="0" indent="0">
              <a:buNone/>
              <a:defRPr sz="2400" b="1" i="0" spc="-100" baseline="0">
                <a:solidFill>
                  <a:schemeClr val="tx1"/>
                </a:solidFill>
                <a:latin typeface="Arial Black" panose="020B0604020202020204" pitchFamily="34" charset="0"/>
                <a:cs typeface="Arial Black" panose="020B0604020202020204" pitchFamily="34" charset="0"/>
              </a:defRPr>
            </a:lvl1pPr>
          </a:lstStyle>
          <a:p>
            <a:pPr lvl="0"/>
            <a:r>
              <a:rPr lang="en-GB" dirty="0"/>
              <a:t>Column title</a:t>
            </a:r>
            <a:endParaRPr lang="ar-SA" dirty="0"/>
          </a:p>
        </p:txBody>
      </p:sp>
      <p:sp>
        <p:nvSpPr>
          <p:cNvPr id="22" name="Text Placeholder 19">
            <a:extLst>
              <a:ext uri="{FF2B5EF4-FFF2-40B4-BE49-F238E27FC236}">
                <a16:creationId xmlns:a16="http://schemas.microsoft.com/office/drawing/2014/main" id="{8106C5C1-DAF3-6448-9E49-4D8FB7C87C4E}"/>
              </a:ext>
            </a:extLst>
          </p:cNvPr>
          <p:cNvSpPr>
            <a:spLocks noGrp="1"/>
          </p:cNvSpPr>
          <p:nvPr>
            <p:ph type="body" sz="quarter" idx="16" hasCustomPrompt="1"/>
          </p:nvPr>
        </p:nvSpPr>
        <p:spPr>
          <a:xfrm>
            <a:off x="360363" y="3833908"/>
            <a:ext cx="3682061"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lvl="0"/>
            <a:r>
              <a:rPr lang="en-US" dirty="0"/>
              <a:t>List of a few</a:t>
            </a:r>
            <a:endParaRPr lang="ar-SA" dirty="0"/>
          </a:p>
        </p:txBody>
      </p:sp>
      <p:sp>
        <p:nvSpPr>
          <p:cNvPr id="17" name="Rectangle 16">
            <a:extLst>
              <a:ext uri="{FF2B5EF4-FFF2-40B4-BE49-F238E27FC236}">
                <a16:creationId xmlns:a16="http://schemas.microsoft.com/office/drawing/2014/main" id="{C5FA2491-503B-CF40-A62B-392C065F7BF9}"/>
              </a:ext>
            </a:extLst>
          </p:cNvPr>
          <p:cNvSpPr/>
          <p:nvPr userDrawn="1"/>
        </p:nvSpPr>
        <p:spPr>
          <a:xfrm>
            <a:off x="4238182" y="2329916"/>
            <a:ext cx="3690000" cy="3978809"/>
          </a:xfrm>
          <a:prstGeom prst="rect">
            <a:avLst/>
          </a:prstGeom>
          <a:solidFill>
            <a:schemeClr val="bg2"/>
          </a:solidFill>
          <a:ln>
            <a:noFill/>
          </a:ln>
          <a:effectLst>
            <a:outerShdw dist="25400" dir="54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lvl="0">
              <a:lnSpc>
                <a:spcPct val="120000"/>
              </a:lnSpc>
            </a:pPr>
            <a:endParaRPr lang="en-US" sz="1400" dirty="0">
              <a:solidFill>
                <a:schemeClr val="tx2">
                  <a:lumMod val="60000"/>
                  <a:lumOff val="40000"/>
                </a:schemeClr>
              </a:solidFill>
            </a:endParaRPr>
          </a:p>
        </p:txBody>
      </p:sp>
      <p:sp>
        <p:nvSpPr>
          <p:cNvPr id="18" name="Rectangle 17">
            <a:extLst>
              <a:ext uri="{FF2B5EF4-FFF2-40B4-BE49-F238E27FC236}">
                <a16:creationId xmlns:a16="http://schemas.microsoft.com/office/drawing/2014/main" id="{C1820B62-5694-EF46-9BF8-0D16EC29D68F}"/>
              </a:ext>
            </a:extLst>
          </p:cNvPr>
          <p:cNvSpPr/>
          <p:nvPr userDrawn="1"/>
        </p:nvSpPr>
        <p:spPr>
          <a:xfrm>
            <a:off x="8123940" y="2329916"/>
            <a:ext cx="3690000" cy="3978809"/>
          </a:xfrm>
          <a:prstGeom prst="rect">
            <a:avLst/>
          </a:prstGeom>
          <a:solidFill>
            <a:schemeClr val="bg2"/>
          </a:solidFill>
          <a:ln>
            <a:noFill/>
          </a:ln>
          <a:effectLst>
            <a:outerShdw dist="25400" dir="5400000" algn="ctr"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080000" rIns="180000" bIns="0" rtlCol="0" anchor="t"/>
          <a:lstStyle/>
          <a:p>
            <a:pPr lvl="0">
              <a:lnSpc>
                <a:spcPct val="120000"/>
              </a:lnSpc>
            </a:pPr>
            <a:endParaRPr lang="en-US" sz="1400" dirty="0">
              <a:solidFill>
                <a:schemeClr val="tx2">
                  <a:lumMod val="60000"/>
                  <a:lumOff val="40000"/>
                </a:schemeClr>
              </a:solidFill>
            </a:endParaRPr>
          </a:p>
        </p:txBody>
      </p:sp>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50F8DB22-AF0C-F945-B27F-11D07218AF1C}"/>
              </a:ext>
            </a:extLst>
          </p:cNvPr>
          <p:cNvSpPr>
            <a:spLocks noGrp="1"/>
          </p:cNvSpPr>
          <p:nvPr>
            <p:ph type="body" sz="quarter" idx="11" hasCustomPrompt="1"/>
          </p:nvPr>
        </p:nvSpPr>
        <p:spPr>
          <a:xfrm>
            <a:off x="352425" y="1073150"/>
            <a:ext cx="11476038" cy="859210"/>
          </a:xfrm>
        </p:spPr>
        <p:txBody>
          <a:bodyPr>
            <a:spAutoFit/>
          </a:bodyPr>
          <a:lstStyle>
            <a:lvl1pPr marL="0" indent="0">
              <a:lnSpc>
                <a:spcPct val="120000"/>
              </a:lnSpc>
              <a:spcBef>
                <a:spcPts val="0"/>
              </a:spcBef>
              <a:buNone/>
              <a:defRPr/>
            </a:lvl1pPr>
          </a:lstStyle>
          <a:p>
            <a:pPr>
              <a:lnSpc>
                <a:spcPct val="120000"/>
              </a:lnSpc>
            </a:pPr>
            <a:r>
              <a:rPr lang="en-IN" sz="1600" dirty="0">
                <a:solidFill>
                  <a:schemeClr val="bg2"/>
                </a:solidFill>
                <a:effectLst/>
                <a:ea typeface="Calibri" panose="020F0502020204030204" pitchFamily="34" charset="0"/>
              </a:rPr>
              <a:t>Here’s a paragraph of introductory text, which provides a narrative and description of what’s </a:t>
            </a:r>
            <a:r>
              <a:rPr lang="en-IN" sz="1600" dirty="0">
                <a:solidFill>
                  <a:schemeClr val="bg2"/>
                </a:solidFill>
                <a:ea typeface="Calibri" panose="020F0502020204030204" pitchFamily="34" charset="0"/>
              </a:rPr>
              <a:t>below. Here’s a paragraph of introductory text, which provides a narrative and description of what’s below. Here’s a paragraph of introductory text, which provides a narrative and description of what’s below.</a:t>
            </a:r>
          </a:p>
        </p:txBody>
      </p:sp>
      <p:sp>
        <p:nvSpPr>
          <p:cNvPr id="10" name="Picture Placeholder 9">
            <a:extLst>
              <a:ext uri="{FF2B5EF4-FFF2-40B4-BE49-F238E27FC236}">
                <a16:creationId xmlns:a16="http://schemas.microsoft.com/office/drawing/2014/main" id="{EF972805-4680-4540-926A-1461D92B3AF6}"/>
              </a:ext>
            </a:extLst>
          </p:cNvPr>
          <p:cNvSpPr>
            <a:spLocks noGrp="1"/>
          </p:cNvSpPr>
          <p:nvPr>
            <p:ph type="pic" sz="quarter" idx="12" hasCustomPrompt="1"/>
          </p:nvPr>
        </p:nvSpPr>
        <p:spPr>
          <a:xfrm>
            <a:off x="550800"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23" name="Text Placeholder 19">
            <a:extLst>
              <a:ext uri="{FF2B5EF4-FFF2-40B4-BE49-F238E27FC236}">
                <a16:creationId xmlns:a16="http://schemas.microsoft.com/office/drawing/2014/main" id="{2FFB5BCA-547D-CD40-AF21-5B53FB9A0841}"/>
              </a:ext>
            </a:extLst>
          </p:cNvPr>
          <p:cNvSpPr>
            <a:spLocks noGrp="1"/>
          </p:cNvSpPr>
          <p:nvPr>
            <p:ph type="body" sz="quarter" idx="17" hasCustomPrompt="1"/>
          </p:nvPr>
        </p:nvSpPr>
        <p:spPr>
          <a:xfrm>
            <a:off x="4244467" y="2329915"/>
            <a:ext cx="3682061" cy="1503993"/>
          </a:xfrm>
        </p:spPr>
        <p:txBody>
          <a:bodyPr wrap="square" lIns="180000" tIns="1080000" rIns="180000">
            <a:spAutoFit/>
          </a:bodyPr>
          <a:lstStyle>
            <a:lvl1pPr marL="0" indent="0">
              <a:buNone/>
              <a:defRPr lang="ar-SA" sz="2400" b="1" i="0" kern="1200" spc="-100" baseline="0" dirty="0" smtClean="0">
                <a:solidFill>
                  <a:schemeClr val="tx1"/>
                </a:solidFill>
                <a:latin typeface="Arial Black" panose="020B0604020202020204" pitchFamily="34" charset="0"/>
                <a:ea typeface="+mn-ea"/>
                <a:cs typeface="Arial Black" panose="020B0604020202020204" pitchFamily="34" charset="0"/>
              </a:defRPr>
            </a:lvl1pPr>
          </a:lstStyle>
          <a:p>
            <a:pPr marL="0" lvl="0" indent="0" algn="l" defTabSz="914400" rtl="0" eaLnBrk="1" latinLnBrk="0" hangingPunct="1">
              <a:lnSpc>
                <a:spcPct val="120000"/>
              </a:lnSpc>
              <a:spcBef>
                <a:spcPts val="1200"/>
              </a:spcBef>
              <a:buClr>
                <a:schemeClr val="accent1"/>
              </a:buClr>
              <a:buFont typeface="Arial" panose="020B0604020202020204" pitchFamily="34" charset="0"/>
              <a:buNone/>
            </a:pPr>
            <a:r>
              <a:rPr lang="en-GB" dirty="0"/>
              <a:t>Column title</a:t>
            </a:r>
            <a:endParaRPr lang="ar-SA" dirty="0"/>
          </a:p>
        </p:txBody>
      </p:sp>
      <p:sp>
        <p:nvSpPr>
          <p:cNvPr id="24" name="Text Placeholder 19">
            <a:extLst>
              <a:ext uri="{FF2B5EF4-FFF2-40B4-BE49-F238E27FC236}">
                <a16:creationId xmlns:a16="http://schemas.microsoft.com/office/drawing/2014/main" id="{AC322965-8CA2-1746-8C72-94DDB46FDF28}"/>
              </a:ext>
            </a:extLst>
          </p:cNvPr>
          <p:cNvSpPr>
            <a:spLocks noGrp="1"/>
          </p:cNvSpPr>
          <p:nvPr>
            <p:ph type="body" sz="quarter" idx="18" hasCustomPrompt="1"/>
          </p:nvPr>
        </p:nvSpPr>
        <p:spPr>
          <a:xfrm>
            <a:off x="4244467" y="3833908"/>
            <a:ext cx="3682061"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marL="172800" lvl="0" indent="-172800" algn="l" defTabSz="914400" rtl="0" eaLnBrk="1" latinLnBrk="0" hangingPunct="1">
              <a:lnSpc>
                <a:spcPct val="120000"/>
              </a:lnSpc>
              <a:spcBef>
                <a:spcPts val="1200"/>
              </a:spcBef>
              <a:buClr>
                <a:schemeClr val="accent1"/>
              </a:buClr>
              <a:buFont typeface="System Font Regular"/>
              <a:buChar char="\"/>
            </a:pPr>
            <a:r>
              <a:rPr lang="en-US" dirty="0"/>
              <a:t>List of a few</a:t>
            </a:r>
            <a:endParaRPr lang="ar-SA" dirty="0"/>
          </a:p>
        </p:txBody>
      </p:sp>
      <p:sp>
        <p:nvSpPr>
          <p:cNvPr id="26" name="Text Placeholder 19">
            <a:extLst>
              <a:ext uri="{FF2B5EF4-FFF2-40B4-BE49-F238E27FC236}">
                <a16:creationId xmlns:a16="http://schemas.microsoft.com/office/drawing/2014/main" id="{EFEE8549-D1AA-F34F-953A-BE99FC5BEB55}"/>
              </a:ext>
            </a:extLst>
          </p:cNvPr>
          <p:cNvSpPr>
            <a:spLocks noGrp="1"/>
          </p:cNvSpPr>
          <p:nvPr>
            <p:ph type="body" sz="quarter" idx="19" hasCustomPrompt="1"/>
          </p:nvPr>
        </p:nvSpPr>
        <p:spPr>
          <a:xfrm>
            <a:off x="8136959" y="2329915"/>
            <a:ext cx="3682061" cy="1503993"/>
          </a:xfrm>
        </p:spPr>
        <p:txBody>
          <a:bodyPr wrap="square" lIns="180000" tIns="1080000" rIns="180000">
            <a:spAutoFit/>
          </a:bodyPr>
          <a:lstStyle>
            <a:lvl1pPr marL="0" indent="0">
              <a:buNone/>
              <a:defRPr lang="ar-SA" sz="2400" b="1" i="0" kern="1200" spc="-100" baseline="0" dirty="0" smtClean="0">
                <a:solidFill>
                  <a:schemeClr val="tx1"/>
                </a:solidFill>
                <a:latin typeface="Arial Black" panose="020B0604020202020204" pitchFamily="34" charset="0"/>
                <a:ea typeface="+mn-ea"/>
                <a:cs typeface="Arial Black" panose="020B0604020202020204" pitchFamily="34" charset="0"/>
              </a:defRPr>
            </a:lvl1pPr>
          </a:lstStyle>
          <a:p>
            <a:pPr marL="0" lvl="0" indent="0" algn="l" defTabSz="914400" rtl="0" eaLnBrk="1" latinLnBrk="0" hangingPunct="1">
              <a:lnSpc>
                <a:spcPct val="120000"/>
              </a:lnSpc>
              <a:spcBef>
                <a:spcPts val="1200"/>
              </a:spcBef>
              <a:buClr>
                <a:schemeClr val="accent1"/>
              </a:buClr>
              <a:buFont typeface="Arial" panose="020B0604020202020204" pitchFamily="34" charset="0"/>
              <a:buNone/>
            </a:pPr>
            <a:r>
              <a:rPr lang="en-GB" dirty="0"/>
              <a:t>Column title</a:t>
            </a:r>
            <a:endParaRPr lang="ar-SA" dirty="0"/>
          </a:p>
        </p:txBody>
      </p:sp>
      <p:sp>
        <p:nvSpPr>
          <p:cNvPr id="27" name="Text Placeholder 19">
            <a:extLst>
              <a:ext uri="{FF2B5EF4-FFF2-40B4-BE49-F238E27FC236}">
                <a16:creationId xmlns:a16="http://schemas.microsoft.com/office/drawing/2014/main" id="{74FF8C75-938B-614C-91BC-F3ABB44F3D58}"/>
              </a:ext>
            </a:extLst>
          </p:cNvPr>
          <p:cNvSpPr>
            <a:spLocks noGrp="1"/>
          </p:cNvSpPr>
          <p:nvPr>
            <p:ph type="body" sz="quarter" idx="20" hasCustomPrompt="1"/>
          </p:nvPr>
        </p:nvSpPr>
        <p:spPr>
          <a:xfrm>
            <a:off x="8136959" y="3833908"/>
            <a:ext cx="3682061" cy="2474817"/>
          </a:xfrm>
        </p:spPr>
        <p:txBody>
          <a:bodyPr wrap="square" lIns="180000" tIns="144000" rIns="180000" bIns="180000">
            <a:normAutofit/>
          </a:bodyPr>
          <a:lstStyle>
            <a:lvl1pPr marL="172800" indent="-172800">
              <a:buFont typeface="System Font Regular"/>
              <a:buChar char="\"/>
              <a:defRPr lang="ar-SA" sz="1400" kern="1200" baseline="0" dirty="0" smtClean="0">
                <a:solidFill>
                  <a:schemeClr val="tx2">
                    <a:lumMod val="60000"/>
                    <a:lumOff val="40000"/>
                  </a:schemeClr>
                </a:solidFill>
                <a:latin typeface="+mn-lt"/>
                <a:ea typeface="+mn-ea"/>
                <a:cs typeface="+mn-cs"/>
              </a:defRPr>
            </a:lvl1pPr>
          </a:lstStyle>
          <a:p>
            <a:pPr marL="172800" lvl="0" indent="-172800" algn="l" defTabSz="914400" rtl="0" eaLnBrk="1" latinLnBrk="0" hangingPunct="1">
              <a:lnSpc>
                <a:spcPct val="120000"/>
              </a:lnSpc>
              <a:spcBef>
                <a:spcPts val="1200"/>
              </a:spcBef>
              <a:buClr>
                <a:schemeClr val="accent1"/>
              </a:buClr>
              <a:buFont typeface="System Font Regular"/>
              <a:buChar char="\"/>
            </a:pPr>
            <a:r>
              <a:rPr lang="en-US" dirty="0"/>
              <a:t>List of a few</a:t>
            </a:r>
            <a:endParaRPr lang="ar-SA" dirty="0"/>
          </a:p>
        </p:txBody>
      </p:sp>
      <p:sp>
        <p:nvSpPr>
          <p:cNvPr id="12" name="Picture Placeholder 9">
            <a:extLst>
              <a:ext uri="{FF2B5EF4-FFF2-40B4-BE49-F238E27FC236}">
                <a16:creationId xmlns:a16="http://schemas.microsoft.com/office/drawing/2014/main" id="{403BCBD3-9B89-3846-A427-DD9987A873F1}"/>
              </a:ext>
            </a:extLst>
          </p:cNvPr>
          <p:cNvSpPr>
            <a:spLocks noGrp="1"/>
          </p:cNvSpPr>
          <p:nvPr>
            <p:ph type="pic" sz="quarter" idx="13" hasCustomPrompt="1"/>
          </p:nvPr>
        </p:nvSpPr>
        <p:spPr>
          <a:xfrm>
            <a:off x="4431600"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13" name="Picture Placeholder 9">
            <a:extLst>
              <a:ext uri="{FF2B5EF4-FFF2-40B4-BE49-F238E27FC236}">
                <a16:creationId xmlns:a16="http://schemas.microsoft.com/office/drawing/2014/main" id="{3BBB1B4B-73FC-A24F-86C0-E235BA430CAB}"/>
              </a:ext>
            </a:extLst>
          </p:cNvPr>
          <p:cNvSpPr>
            <a:spLocks noGrp="1"/>
          </p:cNvSpPr>
          <p:nvPr>
            <p:ph type="pic" sz="quarter" idx="14" hasCustomPrompt="1"/>
          </p:nvPr>
        </p:nvSpPr>
        <p:spPr>
          <a:xfrm>
            <a:off x="8319600" y="2574000"/>
            <a:ext cx="594000" cy="594000"/>
          </a:xfrm>
        </p:spPr>
        <p:txBody>
          <a:bodyPr>
            <a:noAutofit/>
          </a:bodyPr>
          <a:lstStyle>
            <a:lvl1pPr marL="0" indent="0">
              <a:buNone/>
              <a:defRPr>
                <a:solidFill>
                  <a:schemeClr val="tx1"/>
                </a:solidFill>
              </a:defRPr>
            </a:lvl1pPr>
          </a:lstStyle>
          <a:p>
            <a:r>
              <a:rPr lang="en-US" dirty="0"/>
              <a:t>Icon</a:t>
            </a:r>
            <a:endParaRPr lang="ar-SA" dirty="0"/>
          </a:p>
        </p:txBody>
      </p:sp>
      <p:sp>
        <p:nvSpPr>
          <p:cNvPr id="4" name="Title 3">
            <a:extLst>
              <a:ext uri="{FF2B5EF4-FFF2-40B4-BE49-F238E27FC236}">
                <a16:creationId xmlns:a16="http://schemas.microsoft.com/office/drawing/2014/main" id="{D74B8E5D-DECE-A74B-862F-5022D26A10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798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DFE06605-5E0C-204D-A2C3-37C127C725C5}"/>
              </a:ext>
            </a:extLst>
          </p:cNvPr>
          <p:cNvSpPr>
            <a:spLocks noGrp="1"/>
          </p:cNvSpPr>
          <p:nvPr>
            <p:ph type="body" sz="quarter" idx="11" hasCustomPrompt="1"/>
          </p:nvPr>
        </p:nvSpPr>
        <p:spPr>
          <a:xfrm>
            <a:off x="360363" y="1072800"/>
            <a:ext cx="2736000" cy="1800000"/>
          </a:xfrm>
          <a:solidFill>
            <a:schemeClr val="accent4"/>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19" name="Text Placeholder 5">
            <a:extLst>
              <a:ext uri="{FF2B5EF4-FFF2-40B4-BE49-F238E27FC236}">
                <a16:creationId xmlns:a16="http://schemas.microsoft.com/office/drawing/2014/main" id="{ED75E8F7-D351-CA42-A16F-9415D1353E9B}"/>
              </a:ext>
            </a:extLst>
          </p:cNvPr>
          <p:cNvSpPr>
            <a:spLocks noGrp="1"/>
          </p:cNvSpPr>
          <p:nvPr>
            <p:ph type="body" sz="quarter" idx="12" hasCustomPrompt="1"/>
          </p:nvPr>
        </p:nvSpPr>
        <p:spPr>
          <a:xfrm>
            <a:off x="360363" y="2872800"/>
            <a:ext cx="2736000" cy="3445200"/>
          </a:xfrm>
          <a:solidFill>
            <a:schemeClr val="bg2"/>
          </a:solidFill>
          <a:effectLst>
            <a:outerShdw dist="25400" dir="5400000" algn="t" rotWithShape="0">
              <a:schemeClr val="accent4"/>
            </a:outerShdw>
          </a:effectLst>
        </p:spPr>
        <p:txBody>
          <a:bodyPr lIns="180000" tIns="180000" rIns="180000" bIns="180000">
            <a:normAutofit/>
          </a:bodyPr>
          <a:lstStyle>
            <a:lvl1pPr marL="180000" marR="0" indent="-180000" algn="l" defTabSz="914400" rtl="0" eaLnBrk="1" fontAlgn="auto" latinLnBrk="0" hangingPunct="1">
              <a:lnSpc>
                <a:spcPct val="120000"/>
              </a:lnSpc>
              <a:spcBef>
                <a:spcPts val="1200"/>
              </a:spcBef>
              <a:spcAft>
                <a:spcPts val="1200"/>
              </a:spcAft>
              <a:buClr>
                <a:schemeClr val="accent1"/>
              </a:buClr>
              <a:buSzTx/>
              <a:buFont typeface="Arial" panose="020B0604020202020204" pitchFamily="34" charset="0"/>
              <a:buChar char="\"/>
              <a:tabLst/>
              <a:defRPr lang="ar-SA" sz="1400" kern="1200" baseline="0" dirty="0" smtClean="0">
                <a:solidFill>
                  <a:schemeClr val="tx1"/>
                </a:solidFill>
                <a:latin typeface="+mn-lt"/>
                <a:ea typeface="+mn-ea"/>
                <a:cs typeface="+mn-cs"/>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180000" lvl="0" indent="-180000" algn="l" defTabSz="914400" rtl="0" eaLnBrk="1" latinLnBrk="0" hangingPunct="1">
              <a:lnSpc>
                <a:spcPct val="120000"/>
              </a:lnSpc>
              <a:spcBef>
                <a:spcPts val="1200"/>
              </a:spcBef>
              <a:buClr>
                <a:schemeClr val="accent1"/>
              </a:buClr>
              <a:buFont typeface="Arial" panose="020B0604020202020204" pitchFamily="34" charset="0"/>
              <a:buChar char="\"/>
            </a:pPr>
            <a:r>
              <a:rPr lang="en-US" dirty="0"/>
              <a:t>Lorem Ipsum is simply dummy text of the printing and typesetting industry. </a:t>
            </a:r>
          </a:p>
        </p:txBody>
      </p:sp>
      <p:sp>
        <p:nvSpPr>
          <p:cNvPr id="25" name="Text Placeholder 5">
            <a:extLst>
              <a:ext uri="{FF2B5EF4-FFF2-40B4-BE49-F238E27FC236}">
                <a16:creationId xmlns:a16="http://schemas.microsoft.com/office/drawing/2014/main" id="{D325416A-BA93-A348-B379-AF1FF7C4A934}"/>
              </a:ext>
            </a:extLst>
          </p:cNvPr>
          <p:cNvSpPr>
            <a:spLocks noGrp="1"/>
          </p:cNvSpPr>
          <p:nvPr>
            <p:ph type="body" sz="quarter" idx="13" hasCustomPrompt="1"/>
          </p:nvPr>
        </p:nvSpPr>
        <p:spPr>
          <a:xfrm>
            <a:off x="3272400" y="1072800"/>
            <a:ext cx="2736000" cy="1800000"/>
          </a:xfrm>
          <a:solidFill>
            <a:schemeClr val="accent3"/>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28" name="Text Placeholder 5">
            <a:extLst>
              <a:ext uri="{FF2B5EF4-FFF2-40B4-BE49-F238E27FC236}">
                <a16:creationId xmlns:a16="http://schemas.microsoft.com/office/drawing/2014/main" id="{CF7D4528-F118-8C44-97B8-B86126A1CAF8}"/>
              </a:ext>
            </a:extLst>
          </p:cNvPr>
          <p:cNvSpPr>
            <a:spLocks noGrp="1"/>
          </p:cNvSpPr>
          <p:nvPr>
            <p:ph type="body" sz="quarter" idx="14" hasCustomPrompt="1"/>
          </p:nvPr>
        </p:nvSpPr>
        <p:spPr>
          <a:xfrm>
            <a:off x="3272400" y="2872800"/>
            <a:ext cx="2736000" cy="3445200"/>
          </a:xfrm>
          <a:solidFill>
            <a:schemeClr val="bg2"/>
          </a:solidFill>
          <a:effectLst>
            <a:outerShdw dist="25400" dir="5400000" algn="t" rotWithShape="0">
              <a:schemeClr val="accent3"/>
            </a:outerShdw>
          </a:effectLst>
        </p:spPr>
        <p:txBody>
          <a:bodyPr vert="horz" lIns="180000" tIns="180000" rIns="180000" bIns="180000" rtlCol="0">
            <a:normAutofit/>
          </a:bodyPr>
          <a:lstStyle>
            <a:lvl1pPr>
              <a:defRPr lang="en-US" sz="1400" dirty="0" smtClean="0">
                <a:solidFill>
                  <a:schemeClr val="tx1"/>
                </a:solidFill>
              </a:defRPr>
            </a:lvl1pPr>
          </a:lstStyle>
          <a:p>
            <a:pPr lvl="0">
              <a:spcAft>
                <a:spcPts val="1200"/>
              </a:spcAft>
            </a:pPr>
            <a:r>
              <a:rPr lang="en-US" dirty="0"/>
              <a:t>Lorem Ipsum is simply dummy text of the printing and typesetting industry. </a:t>
            </a:r>
          </a:p>
        </p:txBody>
      </p:sp>
      <p:sp>
        <p:nvSpPr>
          <p:cNvPr id="29" name="Text Placeholder 5">
            <a:extLst>
              <a:ext uri="{FF2B5EF4-FFF2-40B4-BE49-F238E27FC236}">
                <a16:creationId xmlns:a16="http://schemas.microsoft.com/office/drawing/2014/main" id="{68203013-BBE1-E74E-8650-E659F75A21BC}"/>
              </a:ext>
            </a:extLst>
          </p:cNvPr>
          <p:cNvSpPr>
            <a:spLocks noGrp="1"/>
          </p:cNvSpPr>
          <p:nvPr>
            <p:ph type="body" sz="quarter" idx="15" hasCustomPrompt="1"/>
          </p:nvPr>
        </p:nvSpPr>
        <p:spPr>
          <a:xfrm>
            <a:off x="6181200" y="1072800"/>
            <a:ext cx="2736000" cy="1800000"/>
          </a:xfrm>
          <a:solidFill>
            <a:schemeClr val="accent2"/>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30" name="Text Placeholder 5">
            <a:extLst>
              <a:ext uri="{FF2B5EF4-FFF2-40B4-BE49-F238E27FC236}">
                <a16:creationId xmlns:a16="http://schemas.microsoft.com/office/drawing/2014/main" id="{35FA45FB-4952-8641-8688-13D34520C724}"/>
              </a:ext>
            </a:extLst>
          </p:cNvPr>
          <p:cNvSpPr>
            <a:spLocks noGrp="1"/>
          </p:cNvSpPr>
          <p:nvPr>
            <p:ph type="body" sz="quarter" idx="16" hasCustomPrompt="1"/>
          </p:nvPr>
        </p:nvSpPr>
        <p:spPr>
          <a:xfrm>
            <a:off x="6181200" y="2872800"/>
            <a:ext cx="2736000" cy="3445200"/>
          </a:xfrm>
          <a:solidFill>
            <a:schemeClr val="bg2"/>
          </a:solidFill>
          <a:effectLst>
            <a:outerShdw dist="25400" dir="5400000" algn="t" rotWithShape="0">
              <a:schemeClr val="accent2"/>
            </a:outerShdw>
          </a:effectLst>
        </p:spPr>
        <p:txBody>
          <a:bodyPr vert="horz" lIns="180000" tIns="180000" rIns="180000" bIns="180000" rtlCol="0">
            <a:normAutofit/>
          </a:bodyPr>
          <a:lstStyle>
            <a:lvl1pPr>
              <a:defRPr lang="en-US" sz="1400" dirty="0" smtClean="0">
                <a:solidFill>
                  <a:schemeClr val="tx1"/>
                </a:solidFill>
              </a:defRPr>
            </a:lvl1pPr>
          </a:lstStyle>
          <a:p>
            <a:pPr lvl="0">
              <a:spcAft>
                <a:spcPts val="1200"/>
              </a:spcAft>
            </a:pPr>
            <a:r>
              <a:rPr lang="en-US" dirty="0"/>
              <a:t>Lorem Ipsum is simply dummy text of the printing and typesetting industry. </a:t>
            </a:r>
          </a:p>
        </p:txBody>
      </p:sp>
      <p:sp>
        <p:nvSpPr>
          <p:cNvPr id="31" name="Text Placeholder 5">
            <a:extLst>
              <a:ext uri="{FF2B5EF4-FFF2-40B4-BE49-F238E27FC236}">
                <a16:creationId xmlns:a16="http://schemas.microsoft.com/office/drawing/2014/main" id="{8A252BC7-EA1D-7E48-A2CC-66D02DF7103C}"/>
              </a:ext>
            </a:extLst>
          </p:cNvPr>
          <p:cNvSpPr>
            <a:spLocks noGrp="1"/>
          </p:cNvSpPr>
          <p:nvPr>
            <p:ph type="body" sz="quarter" idx="17" hasCustomPrompt="1"/>
          </p:nvPr>
        </p:nvSpPr>
        <p:spPr>
          <a:xfrm>
            <a:off x="9093600" y="1072800"/>
            <a:ext cx="2736000" cy="1800000"/>
          </a:xfrm>
          <a:solidFill>
            <a:schemeClr val="accent5"/>
          </a:solidFill>
        </p:spPr>
        <p:txBody>
          <a:bodyPr lIns="180000" tIns="180000" rIns="180000" bIns="180000">
            <a:normAutofit/>
          </a:bodyPr>
          <a:lstStyle>
            <a:lvl1pPr marL="0" indent="0">
              <a:spcBef>
                <a:spcPts val="600"/>
              </a:spcBef>
              <a:spcAft>
                <a:spcPts val="1200"/>
              </a:spcAft>
              <a:buNone/>
              <a:defRPr sz="2000" b="1" i="0" spc="0">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32" name="Text Placeholder 5">
            <a:extLst>
              <a:ext uri="{FF2B5EF4-FFF2-40B4-BE49-F238E27FC236}">
                <a16:creationId xmlns:a16="http://schemas.microsoft.com/office/drawing/2014/main" id="{8AC7132A-A253-0C4D-A403-FDD7006D433E}"/>
              </a:ext>
            </a:extLst>
          </p:cNvPr>
          <p:cNvSpPr>
            <a:spLocks noGrp="1"/>
          </p:cNvSpPr>
          <p:nvPr>
            <p:ph type="body" sz="quarter" idx="18" hasCustomPrompt="1"/>
          </p:nvPr>
        </p:nvSpPr>
        <p:spPr>
          <a:xfrm>
            <a:off x="9093600" y="2872800"/>
            <a:ext cx="2736000" cy="3445200"/>
          </a:xfrm>
          <a:solidFill>
            <a:schemeClr val="bg2"/>
          </a:solidFill>
          <a:effectLst>
            <a:outerShdw dist="25400" dir="5400000" algn="t" rotWithShape="0">
              <a:schemeClr val="accent5"/>
            </a:outerShdw>
          </a:effectLst>
        </p:spPr>
        <p:txBody>
          <a:bodyPr vert="horz" lIns="180000" tIns="180000" rIns="180000" bIns="180000" rtlCol="0">
            <a:normAutofit/>
          </a:bodyPr>
          <a:lstStyle>
            <a:lvl1pPr>
              <a:defRPr lang="en-US" sz="1400" dirty="0" smtClean="0">
                <a:solidFill>
                  <a:schemeClr val="tx1"/>
                </a:solidFill>
              </a:defRPr>
            </a:lvl1pPr>
          </a:lstStyle>
          <a:p>
            <a:pPr lvl="0">
              <a:spcAft>
                <a:spcPts val="1200"/>
              </a:spcAft>
            </a:pPr>
            <a:r>
              <a:rPr lang="en-US" dirty="0"/>
              <a:t>Lorem Ipsum is simply dummy text of the printing and typesetting industry. </a:t>
            </a:r>
          </a:p>
        </p:txBody>
      </p:sp>
      <p:sp>
        <p:nvSpPr>
          <p:cNvPr id="4" name="Title 3">
            <a:extLst>
              <a:ext uri="{FF2B5EF4-FFF2-40B4-BE49-F238E27FC236}">
                <a16:creationId xmlns:a16="http://schemas.microsoft.com/office/drawing/2014/main" id="{4ECED374-A423-7241-A242-AE9EEBDACD9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892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with Icons and Datapoi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2FB7953-F8F0-D248-94E4-81B498A6D21A}"/>
              </a:ext>
            </a:extLst>
          </p:cNvPr>
          <p:cNvSpPr>
            <a:spLocks noGrp="1"/>
          </p:cNvSpPr>
          <p:nvPr>
            <p:ph type="body" sz="quarter" idx="23" hasCustomPrompt="1"/>
          </p:nvPr>
        </p:nvSpPr>
        <p:spPr>
          <a:xfrm>
            <a:off x="360362"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3" name="Text Placeholder 7">
            <a:extLst>
              <a:ext uri="{FF2B5EF4-FFF2-40B4-BE49-F238E27FC236}">
                <a16:creationId xmlns:a16="http://schemas.microsoft.com/office/drawing/2014/main" id="{3BDC1D60-8CA6-CE4F-8AF2-28E1A5183A38}"/>
              </a:ext>
            </a:extLst>
          </p:cNvPr>
          <p:cNvSpPr>
            <a:spLocks noGrp="1"/>
          </p:cNvSpPr>
          <p:nvPr>
            <p:ph type="body" sz="quarter" idx="25" hasCustomPrompt="1"/>
          </p:nvPr>
        </p:nvSpPr>
        <p:spPr>
          <a:xfrm>
            <a:off x="3272400"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6" name="Text Placeholder 7">
            <a:extLst>
              <a:ext uri="{FF2B5EF4-FFF2-40B4-BE49-F238E27FC236}">
                <a16:creationId xmlns:a16="http://schemas.microsoft.com/office/drawing/2014/main" id="{71A6A59A-0FE4-0749-BC9D-E7D8C6477E5E}"/>
              </a:ext>
            </a:extLst>
          </p:cNvPr>
          <p:cNvSpPr>
            <a:spLocks noGrp="1"/>
          </p:cNvSpPr>
          <p:nvPr>
            <p:ph type="body" sz="quarter" idx="27" hasCustomPrompt="1"/>
          </p:nvPr>
        </p:nvSpPr>
        <p:spPr>
          <a:xfrm>
            <a:off x="6181200"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3" name="Text Placeholder 7">
            <a:extLst>
              <a:ext uri="{FF2B5EF4-FFF2-40B4-BE49-F238E27FC236}">
                <a16:creationId xmlns:a16="http://schemas.microsoft.com/office/drawing/2014/main" id="{BD083C88-D630-B24C-9BB9-1D31069D5C1D}"/>
              </a:ext>
            </a:extLst>
          </p:cNvPr>
          <p:cNvSpPr>
            <a:spLocks noGrp="1"/>
          </p:cNvSpPr>
          <p:nvPr>
            <p:ph type="body" sz="quarter" idx="29" hasCustomPrompt="1"/>
          </p:nvPr>
        </p:nvSpPr>
        <p:spPr>
          <a:xfrm>
            <a:off x="9093600" y="5140960"/>
            <a:ext cx="2736000" cy="1167765"/>
          </a:xfrm>
          <a:solidFill>
            <a:schemeClr val="accent2"/>
          </a:solidFill>
        </p:spPr>
        <p:txBody>
          <a:bodyPr lIns="180000" tIns="180000" rIns="180000" bIns="180000">
            <a:normAutofit/>
          </a:bodyPr>
          <a:lstStyle>
            <a:lvl1pPr marL="0" indent="0">
              <a:buNone/>
              <a:defRPr sz="2000" b="1" i="0" spc="-100" baseline="0">
                <a:solidFill>
                  <a:schemeClr val="accent3"/>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DFE06605-5E0C-204D-A2C3-37C127C725C5}"/>
              </a:ext>
            </a:extLst>
          </p:cNvPr>
          <p:cNvSpPr>
            <a:spLocks noGrp="1"/>
          </p:cNvSpPr>
          <p:nvPr>
            <p:ph type="body" sz="quarter" idx="11" hasCustomPrompt="1"/>
          </p:nvPr>
        </p:nvSpPr>
        <p:spPr>
          <a:xfrm>
            <a:off x="360363" y="1072800"/>
            <a:ext cx="2736000" cy="4071600"/>
          </a:xfrm>
          <a:solidFill>
            <a:schemeClr val="bg2"/>
          </a:solidFill>
        </p:spPr>
        <p:txBody>
          <a:bodyPr lIns="180000" tIns="2160000" rIns="180000" bIns="180000">
            <a:normAutofit/>
          </a:bodyPr>
          <a:lstStyle>
            <a:lvl1pPr marL="0" indent="0">
              <a:lnSpc>
                <a:spcPct val="100000"/>
              </a:lnSpc>
              <a:spcBef>
                <a:spcPts val="500"/>
              </a:spcBef>
              <a:spcAft>
                <a:spcPts val="1200"/>
              </a:spcAft>
              <a:buNone/>
              <a:defRPr sz="2000" b="1" i="0" spc="-100" baseline="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25" name="Text Placeholder 5">
            <a:extLst>
              <a:ext uri="{FF2B5EF4-FFF2-40B4-BE49-F238E27FC236}">
                <a16:creationId xmlns:a16="http://schemas.microsoft.com/office/drawing/2014/main" id="{D325416A-BA93-A348-B379-AF1FF7C4A934}"/>
              </a:ext>
            </a:extLst>
          </p:cNvPr>
          <p:cNvSpPr>
            <a:spLocks noGrp="1"/>
          </p:cNvSpPr>
          <p:nvPr>
            <p:ph type="body" sz="quarter" idx="13" hasCustomPrompt="1"/>
          </p:nvPr>
        </p:nvSpPr>
        <p:spPr>
          <a:xfrm>
            <a:off x="3272400" y="1072800"/>
            <a:ext cx="2736000" cy="4071600"/>
          </a:xfrm>
          <a:solidFill>
            <a:schemeClr val="bg2"/>
          </a:solid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29" name="Text Placeholder 5">
            <a:extLst>
              <a:ext uri="{FF2B5EF4-FFF2-40B4-BE49-F238E27FC236}">
                <a16:creationId xmlns:a16="http://schemas.microsoft.com/office/drawing/2014/main" id="{68203013-BBE1-E74E-8650-E659F75A21BC}"/>
              </a:ext>
            </a:extLst>
          </p:cNvPr>
          <p:cNvSpPr>
            <a:spLocks noGrp="1"/>
          </p:cNvSpPr>
          <p:nvPr>
            <p:ph type="body" sz="quarter" idx="15" hasCustomPrompt="1"/>
          </p:nvPr>
        </p:nvSpPr>
        <p:spPr>
          <a:xfrm>
            <a:off x="6181200" y="1072800"/>
            <a:ext cx="2736000" cy="4071600"/>
          </a:xfrm>
          <a:solidFill>
            <a:schemeClr val="bg2"/>
          </a:solid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31" name="Text Placeholder 5">
            <a:extLst>
              <a:ext uri="{FF2B5EF4-FFF2-40B4-BE49-F238E27FC236}">
                <a16:creationId xmlns:a16="http://schemas.microsoft.com/office/drawing/2014/main" id="{8A252BC7-EA1D-7E48-A2CC-66D02DF7103C}"/>
              </a:ext>
            </a:extLst>
          </p:cNvPr>
          <p:cNvSpPr>
            <a:spLocks noGrp="1"/>
          </p:cNvSpPr>
          <p:nvPr>
            <p:ph type="body" sz="quarter" idx="17" hasCustomPrompt="1"/>
          </p:nvPr>
        </p:nvSpPr>
        <p:spPr>
          <a:xfrm>
            <a:off x="9093600" y="1072800"/>
            <a:ext cx="2736000" cy="4071600"/>
          </a:xfrm>
          <a:solidFill>
            <a:schemeClr val="bg2"/>
          </a:solid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5" name="Picture Placeholder 4">
            <a:extLst>
              <a:ext uri="{FF2B5EF4-FFF2-40B4-BE49-F238E27FC236}">
                <a16:creationId xmlns:a16="http://schemas.microsoft.com/office/drawing/2014/main" id="{8EB9EF6E-7115-E74F-AD15-F019AD3045AC}"/>
              </a:ext>
            </a:extLst>
          </p:cNvPr>
          <p:cNvSpPr>
            <a:spLocks noGrp="1"/>
          </p:cNvSpPr>
          <p:nvPr>
            <p:ph type="pic" sz="quarter" idx="19" hasCustomPrompt="1"/>
          </p:nvPr>
        </p:nvSpPr>
        <p:spPr>
          <a:xfrm>
            <a:off x="4536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4" name="Picture Placeholder 4">
            <a:extLst>
              <a:ext uri="{FF2B5EF4-FFF2-40B4-BE49-F238E27FC236}">
                <a16:creationId xmlns:a16="http://schemas.microsoft.com/office/drawing/2014/main" id="{504BDB76-BAB9-254C-843A-76E1BCB770D9}"/>
              </a:ext>
            </a:extLst>
          </p:cNvPr>
          <p:cNvSpPr>
            <a:spLocks noGrp="1"/>
          </p:cNvSpPr>
          <p:nvPr>
            <p:ph type="pic" sz="quarter" idx="20" hasCustomPrompt="1"/>
          </p:nvPr>
        </p:nvSpPr>
        <p:spPr>
          <a:xfrm>
            <a:off x="33660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5" name="Picture Placeholder 4">
            <a:extLst>
              <a:ext uri="{FF2B5EF4-FFF2-40B4-BE49-F238E27FC236}">
                <a16:creationId xmlns:a16="http://schemas.microsoft.com/office/drawing/2014/main" id="{8CEA5128-91CE-5C4D-8A44-8EF2F09542D8}"/>
              </a:ext>
            </a:extLst>
          </p:cNvPr>
          <p:cNvSpPr>
            <a:spLocks noGrp="1"/>
          </p:cNvSpPr>
          <p:nvPr>
            <p:ph type="pic" sz="quarter" idx="21" hasCustomPrompt="1"/>
          </p:nvPr>
        </p:nvSpPr>
        <p:spPr>
          <a:xfrm>
            <a:off x="62748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6" name="Picture Placeholder 4">
            <a:extLst>
              <a:ext uri="{FF2B5EF4-FFF2-40B4-BE49-F238E27FC236}">
                <a16:creationId xmlns:a16="http://schemas.microsoft.com/office/drawing/2014/main" id="{DA4D4607-15BD-7344-A060-8964B708B968}"/>
              </a:ext>
            </a:extLst>
          </p:cNvPr>
          <p:cNvSpPr>
            <a:spLocks noGrp="1"/>
          </p:cNvSpPr>
          <p:nvPr>
            <p:ph type="pic" sz="quarter" idx="22" hasCustomPrompt="1"/>
          </p:nvPr>
        </p:nvSpPr>
        <p:spPr>
          <a:xfrm>
            <a:off x="9187200" y="1814400"/>
            <a:ext cx="1080000" cy="1080000"/>
          </a:xfrm>
        </p:spPr>
        <p:txBody>
          <a:bodyPr anchor="ctr" anchorCtr="0"/>
          <a:lstStyle>
            <a:lvl1pPr>
              <a:defRPr>
                <a:solidFill>
                  <a:schemeClr val="tx1"/>
                </a:solidFill>
              </a:defRPr>
            </a:lvl1pPr>
          </a:lstStyle>
          <a:p>
            <a:r>
              <a:rPr lang="en-US" dirty="0"/>
              <a:t>Icon</a:t>
            </a:r>
            <a:endParaRPr lang="ar-SA" dirty="0"/>
          </a:p>
        </p:txBody>
      </p:sp>
      <p:sp>
        <p:nvSpPr>
          <p:cNvPr id="10" name="Text Placeholder 9">
            <a:extLst>
              <a:ext uri="{FF2B5EF4-FFF2-40B4-BE49-F238E27FC236}">
                <a16:creationId xmlns:a16="http://schemas.microsoft.com/office/drawing/2014/main" id="{B41C647F-5247-264A-89FE-65D730B2365F}"/>
              </a:ext>
            </a:extLst>
          </p:cNvPr>
          <p:cNvSpPr>
            <a:spLocks noGrp="1"/>
          </p:cNvSpPr>
          <p:nvPr>
            <p:ph type="body" sz="quarter" idx="24" hasCustomPrompt="1"/>
          </p:nvPr>
        </p:nvSpPr>
        <p:spPr>
          <a:xfrm>
            <a:off x="360362"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24" name="Text Placeholder 9">
            <a:extLst>
              <a:ext uri="{FF2B5EF4-FFF2-40B4-BE49-F238E27FC236}">
                <a16:creationId xmlns:a16="http://schemas.microsoft.com/office/drawing/2014/main" id="{5A5435C9-EFF4-8147-B3B1-55EE187742C3}"/>
              </a:ext>
            </a:extLst>
          </p:cNvPr>
          <p:cNvSpPr>
            <a:spLocks noGrp="1"/>
          </p:cNvSpPr>
          <p:nvPr>
            <p:ph type="body" sz="quarter" idx="26" hasCustomPrompt="1"/>
          </p:nvPr>
        </p:nvSpPr>
        <p:spPr>
          <a:xfrm>
            <a:off x="3272400"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27" name="Text Placeholder 9">
            <a:extLst>
              <a:ext uri="{FF2B5EF4-FFF2-40B4-BE49-F238E27FC236}">
                <a16:creationId xmlns:a16="http://schemas.microsoft.com/office/drawing/2014/main" id="{039C8F8E-6AB7-CF42-8AF2-635BE4E0AD96}"/>
              </a:ext>
            </a:extLst>
          </p:cNvPr>
          <p:cNvSpPr>
            <a:spLocks noGrp="1"/>
          </p:cNvSpPr>
          <p:nvPr>
            <p:ph type="body" sz="quarter" idx="28" hasCustomPrompt="1"/>
          </p:nvPr>
        </p:nvSpPr>
        <p:spPr>
          <a:xfrm>
            <a:off x="6181200"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34" name="Text Placeholder 9">
            <a:extLst>
              <a:ext uri="{FF2B5EF4-FFF2-40B4-BE49-F238E27FC236}">
                <a16:creationId xmlns:a16="http://schemas.microsoft.com/office/drawing/2014/main" id="{3497F8DF-538B-B046-B345-11D65B097334}"/>
              </a:ext>
            </a:extLst>
          </p:cNvPr>
          <p:cNvSpPr>
            <a:spLocks noGrp="1"/>
          </p:cNvSpPr>
          <p:nvPr>
            <p:ph type="body" sz="quarter" idx="30" hasCustomPrompt="1"/>
          </p:nvPr>
        </p:nvSpPr>
        <p:spPr>
          <a:xfrm>
            <a:off x="9093600" y="5654842"/>
            <a:ext cx="2735999" cy="653882"/>
          </a:xfrm>
        </p:spPr>
        <p:txBody>
          <a:bodyPr lIns="180000" rIns="180000" bIns="180000">
            <a:noAutofit/>
          </a:bodyPr>
          <a:lstStyle>
            <a:lvl1pPr marL="0" indent="0">
              <a:lnSpc>
                <a:spcPct val="100000"/>
              </a:lnSpc>
              <a:spcBef>
                <a:spcPts val="0"/>
              </a:spcBef>
              <a:spcAft>
                <a:spcPts val="1200"/>
              </a:spcAft>
              <a:buNone/>
              <a:defRPr sz="1400"/>
            </a:lvl1pPr>
          </a:lstStyle>
          <a:p>
            <a:pPr lvl="0"/>
            <a:r>
              <a:rPr lang="en-US" dirty="0"/>
              <a:t>Lorem Ipsum is simply dummy text of the printing.</a:t>
            </a:r>
            <a:endParaRPr lang="ar-SA" dirty="0"/>
          </a:p>
        </p:txBody>
      </p:sp>
      <p:sp>
        <p:nvSpPr>
          <p:cNvPr id="4" name="Title 3">
            <a:extLst>
              <a:ext uri="{FF2B5EF4-FFF2-40B4-BE49-F238E27FC236}">
                <a16:creationId xmlns:a16="http://schemas.microsoft.com/office/drawing/2014/main" id="{32ED3491-8948-2248-B956-0AD19704650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849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Column with Number and Datapoint">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831E1F3E-6649-4F4A-81C4-A457307C320A}"/>
              </a:ext>
            </a:extLst>
          </p:cNvPr>
          <p:cNvSpPr/>
          <p:nvPr userDrawn="1"/>
        </p:nvSpPr>
        <p:spPr>
          <a:xfrm>
            <a:off x="3272400"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5" name="Rectangle 34">
            <a:extLst>
              <a:ext uri="{FF2B5EF4-FFF2-40B4-BE49-F238E27FC236}">
                <a16:creationId xmlns:a16="http://schemas.microsoft.com/office/drawing/2014/main" id="{2537E308-DE58-C64E-83EC-8AE518964811}"/>
              </a:ext>
            </a:extLst>
          </p:cNvPr>
          <p:cNvSpPr/>
          <p:nvPr userDrawn="1"/>
        </p:nvSpPr>
        <p:spPr>
          <a:xfrm>
            <a:off x="6172200"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36" name="Rectangle 35">
            <a:extLst>
              <a:ext uri="{FF2B5EF4-FFF2-40B4-BE49-F238E27FC236}">
                <a16:creationId xmlns:a16="http://schemas.microsoft.com/office/drawing/2014/main" id="{D54E5279-46A9-4241-A757-CDD2DE172B87}"/>
              </a:ext>
            </a:extLst>
          </p:cNvPr>
          <p:cNvSpPr/>
          <p:nvPr userDrawn="1"/>
        </p:nvSpPr>
        <p:spPr>
          <a:xfrm>
            <a:off x="9093600"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 name="Rectangle 4">
            <a:extLst>
              <a:ext uri="{FF2B5EF4-FFF2-40B4-BE49-F238E27FC236}">
                <a16:creationId xmlns:a16="http://schemas.microsoft.com/office/drawing/2014/main" id="{71F62EC4-783C-D644-9331-2A649BF3A7B1}"/>
              </a:ext>
            </a:extLst>
          </p:cNvPr>
          <p:cNvSpPr/>
          <p:nvPr userDrawn="1"/>
        </p:nvSpPr>
        <p:spPr>
          <a:xfrm>
            <a:off x="360363" y="1072800"/>
            <a:ext cx="2736000" cy="40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8" name="Text Placeholder 7">
            <a:extLst>
              <a:ext uri="{FF2B5EF4-FFF2-40B4-BE49-F238E27FC236}">
                <a16:creationId xmlns:a16="http://schemas.microsoft.com/office/drawing/2014/main" id="{82FB7953-F8F0-D248-94E4-81B498A6D21A}"/>
              </a:ext>
            </a:extLst>
          </p:cNvPr>
          <p:cNvSpPr>
            <a:spLocks noGrp="1"/>
          </p:cNvSpPr>
          <p:nvPr>
            <p:ph type="body" sz="quarter" idx="23" hasCustomPrompt="1"/>
          </p:nvPr>
        </p:nvSpPr>
        <p:spPr>
          <a:xfrm>
            <a:off x="360362"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3" name="Text Placeholder 7">
            <a:extLst>
              <a:ext uri="{FF2B5EF4-FFF2-40B4-BE49-F238E27FC236}">
                <a16:creationId xmlns:a16="http://schemas.microsoft.com/office/drawing/2014/main" id="{3BDC1D60-8CA6-CE4F-8AF2-28E1A5183A38}"/>
              </a:ext>
            </a:extLst>
          </p:cNvPr>
          <p:cNvSpPr>
            <a:spLocks noGrp="1"/>
          </p:cNvSpPr>
          <p:nvPr>
            <p:ph type="body" sz="quarter" idx="25" hasCustomPrompt="1"/>
          </p:nvPr>
        </p:nvSpPr>
        <p:spPr>
          <a:xfrm>
            <a:off x="3272400"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26" name="Text Placeholder 7">
            <a:extLst>
              <a:ext uri="{FF2B5EF4-FFF2-40B4-BE49-F238E27FC236}">
                <a16:creationId xmlns:a16="http://schemas.microsoft.com/office/drawing/2014/main" id="{71A6A59A-0FE4-0749-BC9D-E7D8C6477E5E}"/>
              </a:ext>
            </a:extLst>
          </p:cNvPr>
          <p:cNvSpPr>
            <a:spLocks noGrp="1"/>
          </p:cNvSpPr>
          <p:nvPr>
            <p:ph type="body" sz="quarter" idx="27" hasCustomPrompt="1"/>
          </p:nvPr>
        </p:nvSpPr>
        <p:spPr>
          <a:xfrm>
            <a:off x="6172200"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3" name="Text Placeholder 7">
            <a:extLst>
              <a:ext uri="{FF2B5EF4-FFF2-40B4-BE49-F238E27FC236}">
                <a16:creationId xmlns:a16="http://schemas.microsoft.com/office/drawing/2014/main" id="{BD083C88-D630-B24C-9BB9-1D31069D5C1D}"/>
              </a:ext>
            </a:extLst>
          </p:cNvPr>
          <p:cNvSpPr>
            <a:spLocks noGrp="1"/>
          </p:cNvSpPr>
          <p:nvPr>
            <p:ph type="body" sz="quarter" idx="29" hasCustomPrompt="1"/>
          </p:nvPr>
        </p:nvSpPr>
        <p:spPr>
          <a:xfrm>
            <a:off x="9093600" y="5130800"/>
            <a:ext cx="2736000" cy="1177925"/>
          </a:xfrm>
          <a:solidFill>
            <a:schemeClr val="bg1"/>
          </a:solidFill>
        </p:spPr>
        <p:txBody>
          <a:bodyPr lIns="180000" tIns="180000" rIns="180000" bIns="180000">
            <a:normAutofit/>
          </a:bodyPr>
          <a:lstStyle>
            <a:lvl1pPr marL="0" indent="0">
              <a:buNone/>
              <a:defRPr sz="20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apoint</a:t>
            </a:r>
            <a:endParaRPr lang="ar-SA" dirty="0"/>
          </a:p>
        </p:txBody>
      </p:sp>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DFE06605-5E0C-204D-A2C3-37C127C725C5}"/>
              </a:ext>
            </a:extLst>
          </p:cNvPr>
          <p:cNvSpPr>
            <a:spLocks noGrp="1"/>
          </p:cNvSpPr>
          <p:nvPr>
            <p:ph type="body" sz="quarter" idx="11" hasCustomPrompt="1"/>
          </p:nvPr>
        </p:nvSpPr>
        <p:spPr>
          <a:xfrm>
            <a:off x="360363" y="1072800"/>
            <a:ext cx="2736000" cy="4071600"/>
          </a:xfrm>
          <a:noFill/>
        </p:spPr>
        <p:txBody>
          <a:bodyPr lIns="180000" tIns="2160000" rIns="180000" bIns="180000">
            <a:normAutofit/>
          </a:bodyPr>
          <a:lstStyle>
            <a:lvl1pPr marL="0" indent="0">
              <a:lnSpc>
                <a:spcPct val="100000"/>
              </a:lnSpc>
              <a:spcBef>
                <a:spcPts val="500"/>
              </a:spcBef>
              <a:spcAft>
                <a:spcPts val="1200"/>
              </a:spcAft>
              <a:buNone/>
              <a:defRPr sz="2000" b="1" i="0" spc="-100" baseline="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Column Title</a:t>
            </a:r>
            <a:endParaRPr lang="ar-SA" dirty="0"/>
          </a:p>
        </p:txBody>
      </p:sp>
      <p:sp>
        <p:nvSpPr>
          <p:cNvPr id="25" name="Text Placeholder 5">
            <a:extLst>
              <a:ext uri="{FF2B5EF4-FFF2-40B4-BE49-F238E27FC236}">
                <a16:creationId xmlns:a16="http://schemas.microsoft.com/office/drawing/2014/main" id="{D325416A-BA93-A348-B379-AF1FF7C4A934}"/>
              </a:ext>
            </a:extLst>
          </p:cNvPr>
          <p:cNvSpPr>
            <a:spLocks noGrp="1"/>
          </p:cNvSpPr>
          <p:nvPr>
            <p:ph type="body" sz="quarter" idx="13" hasCustomPrompt="1"/>
          </p:nvPr>
        </p:nvSpPr>
        <p:spPr>
          <a:xfrm>
            <a:off x="3272400" y="1072800"/>
            <a:ext cx="2736000" cy="4071600"/>
          </a:xfrm>
          <a:no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29" name="Text Placeholder 5">
            <a:extLst>
              <a:ext uri="{FF2B5EF4-FFF2-40B4-BE49-F238E27FC236}">
                <a16:creationId xmlns:a16="http://schemas.microsoft.com/office/drawing/2014/main" id="{68203013-BBE1-E74E-8650-E659F75A21BC}"/>
              </a:ext>
            </a:extLst>
          </p:cNvPr>
          <p:cNvSpPr>
            <a:spLocks noGrp="1"/>
          </p:cNvSpPr>
          <p:nvPr>
            <p:ph type="body" sz="quarter" idx="15" hasCustomPrompt="1"/>
          </p:nvPr>
        </p:nvSpPr>
        <p:spPr>
          <a:xfrm>
            <a:off x="6172200" y="1072800"/>
            <a:ext cx="2736000" cy="4071600"/>
          </a:xfrm>
          <a:no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31" name="Text Placeholder 5">
            <a:extLst>
              <a:ext uri="{FF2B5EF4-FFF2-40B4-BE49-F238E27FC236}">
                <a16:creationId xmlns:a16="http://schemas.microsoft.com/office/drawing/2014/main" id="{8A252BC7-EA1D-7E48-A2CC-66D02DF7103C}"/>
              </a:ext>
            </a:extLst>
          </p:cNvPr>
          <p:cNvSpPr>
            <a:spLocks noGrp="1"/>
          </p:cNvSpPr>
          <p:nvPr>
            <p:ph type="body" sz="quarter" idx="17" hasCustomPrompt="1"/>
          </p:nvPr>
        </p:nvSpPr>
        <p:spPr>
          <a:xfrm>
            <a:off x="9093600" y="1072800"/>
            <a:ext cx="2736000" cy="4071600"/>
          </a:xfrm>
          <a:noFill/>
        </p:spPr>
        <p:txBody>
          <a:bodyPr lIns="180000" tIns="2160000" rIns="180000" bIns="180000">
            <a:normAutofit/>
          </a:bodyPr>
          <a:lstStyle>
            <a:lvl1pPr marL="0" indent="0">
              <a:spcBef>
                <a:spcPts val="600"/>
              </a:spcBef>
              <a:spcAft>
                <a:spcPts val="1200"/>
              </a:spcAft>
              <a:buNone/>
              <a:defRPr lang="ar-SA" sz="2000" b="1" i="0" kern="1200" spc="-100" baseline="0" dirty="0">
                <a:solidFill>
                  <a:schemeClr val="tx1"/>
                </a:solidFill>
                <a:latin typeface="Arial Black" panose="020B0604020202020204" pitchFamily="34" charset="0"/>
                <a:ea typeface="+mn-ea"/>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marL="0" lvl="0" indent="0" algn="l" defTabSz="914400" rtl="0" eaLnBrk="1" latinLnBrk="0" hangingPunct="1">
              <a:lnSpc>
                <a:spcPct val="100000"/>
              </a:lnSpc>
              <a:spcBef>
                <a:spcPts val="500"/>
              </a:spcBef>
              <a:spcAft>
                <a:spcPts val="1200"/>
              </a:spcAft>
              <a:buClr>
                <a:schemeClr val="accent1"/>
              </a:buClr>
              <a:buFont typeface="Arial" panose="020B0604020202020204" pitchFamily="34" charset="0"/>
              <a:buNone/>
            </a:pPr>
            <a:r>
              <a:rPr lang="en-GB" dirty="0"/>
              <a:t>Column Title</a:t>
            </a:r>
            <a:endParaRPr lang="ar-SA" dirty="0"/>
          </a:p>
        </p:txBody>
      </p:sp>
      <p:sp>
        <p:nvSpPr>
          <p:cNvPr id="10" name="Text Placeholder 9">
            <a:extLst>
              <a:ext uri="{FF2B5EF4-FFF2-40B4-BE49-F238E27FC236}">
                <a16:creationId xmlns:a16="http://schemas.microsoft.com/office/drawing/2014/main" id="{B41C647F-5247-264A-89FE-65D730B2365F}"/>
              </a:ext>
            </a:extLst>
          </p:cNvPr>
          <p:cNvSpPr>
            <a:spLocks noGrp="1"/>
          </p:cNvSpPr>
          <p:nvPr>
            <p:ph type="body" sz="quarter" idx="24" hasCustomPrompt="1"/>
          </p:nvPr>
        </p:nvSpPr>
        <p:spPr>
          <a:xfrm>
            <a:off x="360362"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24" name="Text Placeholder 9">
            <a:extLst>
              <a:ext uri="{FF2B5EF4-FFF2-40B4-BE49-F238E27FC236}">
                <a16:creationId xmlns:a16="http://schemas.microsoft.com/office/drawing/2014/main" id="{5A5435C9-EFF4-8147-B3B1-55EE187742C3}"/>
              </a:ext>
            </a:extLst>
          </p:cNvPr>
          <p:cNvSpPr>
            <a:spLocks noGrp="1"/>
          </p:cNvSpPr>
          <p:nvPr>
            <p:ph type="body" sz="quarter" idx="26" hasCustomPrompt="1"/>
          </p:nvPr>
        </p:nvSpPr>
        <p:spPr>
          <a:xfrm>
            <a:off x="3272400"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27" name="Text Placeholder 9">
            <a:extLst>
              <a:ext uri="{FF2B5EF4-FFF2-40B4-BE49-F238E27FC236}">
                <a16:creationId xmlns:a16="http://schemas.microsoft.com/office/drawing/2014/main" id="{039C8F8E-6AB7-CF42-8AF2-635BE4E0AD96}"/>
              </a:ext>
            </a:extLst>
          </p:cNvPr>
          <p:cNvSpPr>
            <a:spLocks noGrp="1"/>
          </p:cNvSpPr>
          <p:nvPr>
            <p:ph type="body" sz="quarter" idx="28" hasCustomPrompt="1"/>
          </p:nvPr>
        </p:nvSpPr>
        <p:spPr>
          <a:xfrm>
            <a:off x="6172200"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34" name="Text Placeholder 9">
            <a:extLst>
              <a:ext uri="{FF2B5EF4-FFF2-40B4-BE49-F238E27FC236}">
                <a16:creationId xmlns:a16="http://schemas.microsoft.com/office/drawing/2014/main" id="{3497F8DF-538B-B046-B345-11D65B097334}"/>
              </a:ext>
            </a:extLst>
          </p:cNvPr>
          <p:cNvSpPr>
            <a:spLocks noGrp="1"/>
          </p:cNvSpPr>
          <p:nvPr>
            <p:ph type="body" sz="quarter" idx="30" hasCustomPrompt="1"/>
          </p:nvPr>
        </p:nvSpPr>
        <p:spPr>
          <a:xfrm>
            <a:off x="9093600" y="5654842"/>
            <a:ext cx="2735999" cy="653882"/>
          </a:xfrm>
        </p:spPr>
        <p:txBody>
          <a:bodyPr lIns="180000" rIns="180000" bIns="180000">
            <a:noAutofit/>
          </a:bodyPr>
          <a:lstStyle>
            <a:lvl1pPr marL="0" indent="0">
              <a:lnSpc>
                <a:spcPct val="100000"/>
              </a:lnSpc>
              <a:spcBef>
                <a:spcPts val="0"/>
              </a:spcBef>
              <a:spcAft>
                <a:spcPts val="1200"/>
              </a:spcAft>
              <a:buNone/>
              <a:defRPr sz="1400">
                <a:solidFill>
                  <a:schemeClr val="tx2">
                    <a:lumMod val="60000"/>
                    <a:lumOff val="40000"/>
                  </a:schemeClr>
                </a:solidFill>
              </a:defRPr>
            </a:lvl1pPr>
          </a:lstStyle>
          <a:p>
            <a:pPr lvl="0"/>
            <a:r>
              <a:rPr lang="en-US" dirty="0"/>
              <a:t>Lorem Ipsum is simply dummy text of the printing.</a:t>
            </a:r>
            <a:endParaRPr lang="ar-SA" dirty="0"/>
          </a:p>
        </p:txBody>
      </p:sp>
      <p:sp>
        <p:nvSpPr>
          <p:cNvPr id="4" name="Title 3">
            <a:extLst>
              <a:ext uri="{FF2B5EF4-FFF2-40B4-BE49-F238E27FC236}">
                <a16:creationId xmlns:a16="http://schemas.microsoft.com/office/drawing/2014/main" id="{48AA8B9A-A01B-9540-AE63-BEEFFC61B39C}"/>
              </a:ext>
            </a:extLst>
          </p:cNvPr>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0BDADC5D-4747-BE4D-BABA-3465AD4F424F}"/>
              </a:ext>
            </a:extLst>
          </p:cNvPr>
          <p:cNvSpPr txBox="1"/>
          <p:nvPr userDrawn="1"/>
        </p:nvSpPr>
        <p:spPr>
          <a:xfrm>
            <a:off x="40640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1</a:t>
            </a:r>
            <a:endParaRPr lang="ar-SA" sz="6600" b="1" i="0" dirty="0">
              <a:solidFill>
                <a:schemeClr val="accent3"/>
              </a:solidFill>
              <a:latin typeface="Arial Black" panose="020B0604020202020204" pitchFamily="34" charset="0"/>
              <a:cs typeface="Arial Black" panose="020B0604020202020204" pitchFamily="34" charset="0"/>
            </a:endParaRPr>
          </a:p>
        </p:txBody>
      </p:sp>
      <p:sp>
        <p:nvSpPr>
          <p:cNvPr id="22" name="TextBox 21">
            <a:extLst>
              <a:ext uri="{FF2B5EF4-FFF2-40B4-BE49-F238E27FC236}">
                <a16:creationId xmlns:a16="http://schemas.microsoft.com/office/drawing/2014/main" id="{FC8BFE8E-8807-4E4C-AB88-303791BC6EF6}"/>
              </a:ext>
            </a:extLst>
          </p:cNvPr>
          <p:cNvSpPr txBox="1"/>
          <p:nvPr userDrawn="1"/>
        </p:nvSpPr>
        <p:spPr>
          <a:xfrm>
            <a:off x="334772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2</a:t>
            </a:r>
            <a:endParaRPr lang="ar-SA" sz="6600" b="1" i="0" dirty="0">
              <a:solidFill>
                <a:schemeClr val="accent3"/>
              </a:solidFill>
              <a:latin typeface="Arial Black" panose="020B0604020202020204" pitchFamily="34" charset="0"/>
              <a:cs typeface="Arial Black" panose="020B0604020202020204" pitchFamily="34" charset="0"/>
            </a:endParaRPr>
          </a:p>
        </p:txBody>
      </p:sp>
      <p:sp>
        <p:nvSpPr>
          <p:cNvPr id="28" name="TextBox 27">
            <a:extLst>
              <a:ext uri="{FF2B5EF4-FFF2-40B4-BE49-F238E27FC236}">
                <a16:creationId xmlns:a16="http://schemas.microsoft.com/office/drawing/2014/main" id="{9E1D276C-EB54-3A45-AEF3-DE29027E8670}"/>
              </a:ext>
            </a:extLst>
          </p:cNvPr>
          <p:cNvSpPr txBox="1"/>
          <p:nvPr userDrawn="1"/>
        </p:nvSpPr>
        <p:spPr>
          <a:xfrm>
            <a:off x="624840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3</a:t>
            </a:r>
            <a:endParaRPr lang="ar-SA" sz="6600" b="1" i="0" dirty="0">
              <a:solidFill>
                <a:schemeClr val="accent3"/>
              </a:solidFill>
              <a:latin typeface="Arial Black" panose="020B0604020202020204" pitchFamily="34" charset="0"/>
              <a:cs typeface="Arial Black" panose="020B0604020202020204" pitchFamily="34" charset="0"/>
            </a:endParaRPr>
          </a:p>
        </p:txBody>
      </p:sp>
      <p:sp>
        <p:nvSpPr>
          <p:cNvPr id="30" name="TextBox 29">
            <a:extLst>
              <a:ext uri="{FF2B5EF4-FFF2-40B4-BE49-F238E27FC236}">
                <a16:creationId xmlns:a16="http://schemas.microsoft.com/office/drawing/2014/main" id="{1D4EE066-2861-2749-B842-3BF8211B45C8}"/>
              </a:ext>
            </a:extLst>
          </p:cNvPr>
          <p:cNvSpPr txBox="1"/>
          <p:nvPr userDrawn="1"/>
        </p:nvSpPr>
        <p:spPr>
          <a:xfrm>
            <a:off x="9189720" y="1910080"/>
            <a:ext cx="748923" cy="1107996"/>
          </a:xfrm>
          <a:prstGeom prst="rect">
            <a:avLst/>
          </a:prstGeom>
          <a:noFill/>
        </p:spPr>
        <p:txBody>
          <a:bodyPr wrap="none" rtlCol="0">
            <a:spAutoFit/>
          </a:bodyPr>
          <a:lstStyle/>
          <a:p>
            <a:r>
              <a:rPr lang="en-US" sz="6600" b="1" i="0" dirty="0">
                <a:solidFill>
                  <a:schemeClr val="accent3"/>
                </a:solidFill>
                <a:latin typeface="Arial Black" panose="020B0604020202020204" pitchFamily="34" charset="0"/>
                <a:cs typeface="Arial Black" panose="020B0604020202020204" pitchFamily="34" charset="0"/>
              </a:rPr>
              <a:t>4</a:t>
            </a:r>
            <a:endParaRPr lang="ar-SA" sz="6600" b="1" i="0" dirty="0">
              <a:solidFill>
                <a:schemeClr val="accent3"/>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61086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guide id="2" pos="347">
          <p15:clr>
            <a:srgbClr val="FBAE40"/>
          </p15:clr>
        </p15:guide>
        <p15:guide id="3" orient="horz">
          <p15:clr>
            <a:srgbClr val="FBAE40"/>
          </p15:clr>
        </p15:guide>
        <p15:guide id="4" pos="2184">
          <p15:clr>
            <a:srgbClr val="FBAE40"/>
          </p15:clr>
        </p15:guide>
        <p15:guide id="5" pos="4009">
          <p15:clr>
            <a:srgbClr val="FBAE40"/>
          </p15:clr>
        </p15:guide>
        <p15:guide id="6" pos="585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tyle 1) 5 Columns" preserve="1">
  <p:cSld name="(Style 1) 5 Columns">
    <p:spTree>
      <p:nvGrpSpPr>
        <p:cNvPr id="1" name="Shape 52"/>
        <p:cNvGrpSpPr/>
        <p:nvPr/>
      </p:nvGrpSpPr>
      <p:grpSpPr>
        <a:xfrm>
          <a:off x="0" y="0"/>
          <a:ext cx="0" cy="0"/>
          <a:chOff x="0" y="0"/>
          <a:chExt cx="0" cy="0"/>
        </a:xfrm>
      </p:grpSpPr>
      <p:sp>
        <p:nvSpPr>
          <p:cNvPr id="53" name="Google Shape;53;p80"/>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80"/>
          <p:cNvSpPr txBox="1">
            <a:spLocks noGrp="1"/>
          </p:cNvSpPr>
          <p:nvPr>
            <p:ph type="body" idx="1"/>
          </p:nvPr>
        </p:nvSpPr>
        <p:spPr>
          <a:xfrm>
            <a:off x="360000" y="1080000"/>
            <a:ext cx="20574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 name="Google Shape;55;p80"/>
          <p:cNvSpPr txBox="1">
            <a:spLocks noGrp="1"/>
          </p:cNvSpPr>
          <p:nvPr>
            <p:ph type="body" idx="2"/>
          </p:nvPr>
        </p:nvSpPr>
        <p:spPr>
          <a:xfrm>
            <a:off x="2712364" y="1080000"/>
            <a:ext cx="20574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80"/>
          <p:cNvSpPr txBox="1">
            <a:spLocks noGrp="1"/>
          </p:cNvSpPr>
          <p:nvPr>
            <p:ph type="body" idx="3"/>
          </p:nvPr>
        </p:nvSpPr>
        <p:spPr>
          <a:xfrm>
            <a:off x="7417092" y="1080000"/>
            <a:ext cx="20574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80"/>
          <p:cNvSpPr txBox="1">
            <a:spLocks noGrp="1"/>
          </p:cNvSpPr>
          <p:nvPr>
            <p:ph type="body" idx="4"/>
          </p:nvPr>
        </p:nvSpPr>
        <p:spPr>
          <a:xfrm>
            <a:off x="5064728" y="1080000"/>
            <a:ext cx="20574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80"/>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59" name="Google Shape;59;p80"/>
          <p:cNvSpPr txBox="1">
            <a:spLocks noGrp="1"/>
          </p:cNvSpPr>
          <p:nvPr>
            <p:ph type="body" idx="5"/>
          </p:nvPr>
        </p:nvSpPr>
        <p:spPr>
          <a:xfrm>
            <a:off x="9769456" y="1080000"/>
            <a:ext cx="2057400" cy="4977900"/>
          </a:xfrm>
          <a:prstGeom prst="rect">
            <a:avLst/>
          </a:prstGeom>
          <a:noFill/>
          <a:ln>
            <a:noFill/>
          </a:ln>
        </p:spPr>
        <p:txBody>
          <a:bodyPr spcFirstLastPara="1" wrap="square" lIns="0" tIns="0" rIns="0" bIns="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3549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2 boxes with Publication 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4" name="Rectangle 3">
            <a:extLst>
              <a:ext uri="{FF2B5EF4-FFF2-40B4-BE49-F238E27FC236}">
                <a16:creationId xmlns:a16="http://schemas.microsoft.com/office/drawing/2014/main" id="{610ACDF2-F023-A54E-B2A2-0E26810C5758}"/>
              </a:ext>
            </a:extLst>
          </p:cNvPr>
          <p:cNvSpPr/>
          <p:nvPr userDrawn="1"/>
        </p:nvSpPr>
        <p:spPr>
          <a:xfrm>
            <a:off x="360422"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sz="1200" dirty="0"/>
          </a:p>
        </p:txBody>
      </p:sp>
      <p:sp>
        <p:nvSpPr>
          <p:cNvPr id="21" name="Rectangle 20">
            <a:extLst>
              <a:ext uri="{FF2B5EF4-FFF2-40B4-BE49-F238E27FC236}">
                <a16:creationId xmlns:a16="http://schemas.microsoft.com/office/drawing/2014/main" id="{5DD11B46-3736-EF45-A40B-89CAA140BA1D}"/>
              </a:ext>
            </a:extLst>
          </p:cNvPr>
          <p:cNvSpPr/>
          <p:nvPr userDrawn="1"/>
        </p:nvSpPr>
        <p:spPr>
          <a:xfrm>
            <a:off x="3239556"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2" name="Rectangle 21">
            <a:extLst>
              <a:ext uri="{FF2B5EF4-FFF2-40B4-BE49-F238E27FC236}">
                <a16:creationId xmlns:a16="http://schemas.microsoft.com/office/drawing/2014/main" id="{F7CAA59F-8E4A-FC46-A12F-FB334D030986}"/>
              </a:ext>
            </a:extLst>
          </p:cNvPr>
          <p:cNvSpPr/>
          <p:nvPr userDrawn="1"/>
        </p:nvSpPr>
        <p:spPr>
          <a:xfrm>
            <a:off x="6119114"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8" name="Rectangle 27">
            <a:extLst>
              <a:ext uri="{FF2B5EF4-FFF2-40B4-BE49-F238E27FC236}">
                <a16:creationId xmlns:a16="http://schemas.microsoft.com/office/drawing/2014/main" id="{9754C047-12EC-5743-BFFB-FE2A692E47C9}"/>
              </a:ext>
            </a:extLst>
          </p:cNvPr>
          <p:cNvSpPr/>
          <p:nvPr userDrawn="1"/>
        </p:nvSpPr>
        <p:spPr>
          <a:xfrm>
            <a:off x="8998671" y="1073149"/>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7" name="Rectangle 56">
            <a:extLst>
              <a:ext uri="{FF2B5EF4-FFF2-40B4-BE49-F238E27FC236}">
                <a16:creationId xmlns:a16="http://schemas.microsoft.com/office/drawing/2014/main" id="{4661CE75-641E-CE4F-84A9-ABE2C6D81CD4}"/>
              </a:ext>
            </a:extLst>
          </p:cNvPr>
          <p:cNvSpPr/>
          <p:nvPr userDrawn="1"/>
        </p:nvSpPr>
        <p:spPr>
          <a:xfrm>
            <a:off x="359998"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8" name="Rectangle 57">
            <a:extLst>
              <a:ext uri="{FF2B5EF4-FFF2-40B4-BE49-F238E27FC236}">
                <a16:creationId xmlns:a16="http://schemas.microsoft.com/office/drawing/2014/main" id="{98823237-1928-7042-AF2C-FC9297064A76}"/>
              </a:ext>
            </a:extLst>
          </p:cNvPr>
          <p:cNvSpPr/>
          <p:nvPr userDrawn="1"/>
        </p:nvSpPr>
        <p:spPr>
          <a:xfrm>
            <a:off x="3239556"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9" name="Rectangle 58">
            <a:extLst>
              <a:ext uri="{FF2B5EF4-FFF2-40B4-BE49-F238E27FC236}">
                <a16:creationId xmlns:a16="http://schemas.microsoft.com/office/drawing/2014/main" id="{5A24F87B-5B27-4241-9324-6B3BB60CCCDD}"/>
              </a:ext>
            </a:extLst>
          </p:cNvPr>
          <p:cNvSpPr/>
          <p:nvPr userDrawn="1"/>
        </p:nvSpPr>
        <p:spPr>
          <a:xfrm>
            <a:off x="6119114"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0" name="Rectangle 59">
            <a:extLst>
              <a:ext uri="{FF2B5EF4-FFF2-40B4-BE49-F238E27FC236}">
                <a16:creationId xmlns:a16="http://schemas.microsoft.com/office/drawing/2014/main" id="{027092B3-185D-424E-BD75-3F3D6AD80906}"/>
              </a:ext>
            </a:extLst>
          </p:cNvPr>
          <p:cNvSpPr/>
          <p:nvPr userDrawn="1"/>
        </p:nvSpPr>
        <p:spPr>
          <a:xfrm>
            <a:off x="8998671" y="2829760"/>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1" name="Rectangle 60">
            <a:extLst>
              <a:ext uri="{FF2B5EF4-FFF2-40B4-BE49-F238E27FC236}">
                <a16:creationId xmlns:a16="http://schemas.microsoft.com/office/drawing/2014/main" id="{180EFAF0-822D-5A49-9115-EE4190F10D74}"/>
              </a:ext>
            </a:extLst>
          </p:cNvPr>
          <p:cNvSpPr/>
          <p:nvPr userDrawn="1"/>
        </p:nvSpPr>
        <p:spPr>
          <a:xfrm>
            <a:off x="359998"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2" name="Rectangle 61">
            <a:extLst>
              <a:ext uri="{FF2B5EF4-FFF2-40B4-BE49-F238E27FC236}">
                <a16:creationId xmlns:a16="http://schemas.microsoft.com/office/drawing/2014/main" id="{ABA03062-2B5F-C443-A4B7-7B31EF4196D2}"/>
              </a:ext>
            </a:extLst>
          </p:cNvPr>
          <p:cNvSpPr/>
          <p:nvPr userDrawn="1"/>
        </p:nvSpPr>
        <p:spPr>
          <a:xfrm>
            <a:off x="3239556"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3" name="Rectangle 62">
            <a:extLst>
              <a:ext uri="{FF2B5EF4-FFF2-40B4-BE49-F238E27FC236}">
                <a16:creationId xmlns:a16="http://schemas.microsoft.com/office/drawing/2014/main" id="{1001E479-5701-584B-8602-456316BB7B7D}"/>
              </a:ext>
            </a:extLst>
          </p:cNvPr>
          <p:cNvSpPr/>
          <p:nvPr userDrawn="1"/>
        </p:nvSpPr>
        <p:spPr>
          <a:xfrm>
            <a:off x="6119114"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4" name="Rectangle 63">
            <a:extLst>
              <a:ext uri="{FF2B5EF4-FFF2-40B4-BE49-F238E27FC236}">
                <a16:creationId xmlns:a16="http://schemas.microsoft.com/office/drawing/2014/main" id="{7ACBE2C6-D6BE-7241-B78B-1F3CACC06AA9}"/>
              </a:ext>
            </a:extLst>
          </p:cNvPr>
          <p:cNvSpPr/>
          <p:nvPr userDrawn="1"/>
        </p:nvSpPr>
        <p:spPr>
          <a:xfrm>
            <a:off x="8998671" y="4586371"/>
            <a:ext cx="2833200" cy="171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 name="Text Placeholder 6">
            <a:extLst>
              <a:ext uri="{FF2B5EF4-FFF2-40B4-BE49-F238E27FC236}">
                <a16:creationId xmlns:a16="http://schemas.microsoft.com/office/drawing/2014/main" id="{FF4501F0-9F8E-9D4C-A778-43CA6B8E4248}"/>
              </a:ext>
            </a:extLst>
          </p:cNvPr>
          <p:cNvSpPr>
            <a:spLocks noGrp="1"/>
          </p:cNvSpPr>
          <p:nvPr>
            <p:ph type="body" sz="quarter" idx="11" hasCustomPrompt="1"/>
          </p:nvPr>
        </p:nvSpPr>
        <p:spPr>
          <a:xfrm>
            <a:off x="360422"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65" name="Text Placeholder 6">
            <a:extLst>
              <a:ext uri="{FF2B5EF4-FFF2-40B4-BE49-F238E27FC236}">
                <a16:creationId xmlns:a16="http://schemas.microsoft.com/office/drawing/2014/main" id="{F7846371-0C77-AA40-97A0-79E56BACB943}"/>
              </a:ext>
            </a:extLst>
          </p:cNvPr>
          <p:cNvSpPr>
            <a:spLocks noGrp="1"/>
          </p:cNvSpPr>
          <p:nvPr>
            <p:ph type="body" sz="quarter" idx="12" hasCustomPrompt="1"/>
          </p:nvPr>
        </p:nvSpPr>
        <p:spPr>
          <a:xfrm>
            <a:off x="360422"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66" name="Text Placeholder 6">
            <a:extLst>
              <a:ext uri="{FF2B5EF4-FFF2-40B4-BE49-F238E27FC236}">
                <a16:creationId xmlns:a16="http://schemas.microsoft.com/office/drawing/2014/main" id="{28A94B59-1B67-DC42-85E9-31D3553CD9CC}"/>
              </a:ext>
            </a:extLst>
          </p:cNvPr>
          <p:cNvSpPr>
            <a:spLocks noGrp="1"/>
          </p:cNvSpPr>
          <p:nvPr>
            <p:ph type="body" sz="quarter" idx="13" hasCustomPrompt="1"/>
          </p:nvPr>
        </p:nvSpPr>
        <p:spPr>
          <a:xfrm>
            <a:off x="360422"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67" name="Text Placeholder 6">
            <a:extLst>
              <a:ext uri="{FF2B5EF4-FFF2-40B4-BE49-F238E27FC236}">
                <a16:creationId xmlns:a16="http://schemas.microsoft.com/office/drawing/2014/main" id="{1C476F38-A540-D04D-8359-45D11E4845F9}"/>
              </a:ext>
            </a:extLst>
          </p:cNvPr>
          <p:cNvSpPr>
            <a:spLocks noGrp="1"/>
          </p:cNvSpPr>
          <p:nvPr>
            <p:ph type="body" sz="quarter" idx="14" hasCustomPrompt="1"/>
          </p:nvPr>
        </p:nvSpPr>
        <p:spPr>
          <a:xfrm>
            <a:off x="360422"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78" name="Text Placeholder 6">
            <a:extLst>
              <a:ext uri="{FF2B5EF4-FFF2-40B4-BE49-F238E27FC236}">
                <a16:creationId xmlns:a16="http://schemas.microsoft.com/office/drawing/2014/main" id="{5A695B54-20C5-7A48-A56E-F4D46C7AFE83}"/>
              </a:ext>
            </a:extLst>
          </p:cNvPr>
          <p:cNvSpPr>
            <a:spLocks noGrp="1"/>
          </p:cNvSpPr>
          <p:nvPr>
            <p:ph type="body" sz="quarter" idx="15" hasCustomPrompt="1"/>
          </p:nvPr>
        </p:nvSpPr>
        <p:spPr>
          <a:xfrm>
            <a:off x="3239556"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79" name="Text Placeholder 6">
            <a:extLst>
              <a:ext uri="{FF2B5EF4-FFF2-40B4-BE49-F238E27FC236}">
                <a16:creationId xmlns:a16="http://schemas.microsoft.com/office/drawing/2014/main" id="{AA756910-5D79-0D43-8AAC-266225CE19F1}"/>
              </a:ext>
            </a:extLst>
          </p:cNvPr>
          <p:cNvSpPr>
            <a:spLocks noGrp="1"/>
          </p:cNvSpPr>
          <p:nvPr>
            <p:ph type="body" sz="quarter" idx="16" hasCustomPrompt="1"/>
          </p:nvPr>
        </p:nvSpPr>
        <p:spPr>
          <a:xfrm>
            <a:off x="3239556"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80" name="Text Placeholder 6">
            <a:extLst>
              <a:ext uri="{FF2B5EF4-FFF2-40B4-BE49-F238E27FC236}">
                <a16:creationId xmlns:a16="http://schemas.microsoft.com/office/drawing/2014/main" id="{EA85A560-FDB3-9442-9A85-D24C7934104D}"/>
              </a:ext>
            </a:extLst>
          </p:cNvPr>
          <p:cNvSpPr>
            <a:spLocks noGrp="1"/>
          </p:cNvSpPr>
          <p:nvPr>
            <p:ph type="body" sz="quarter" idx="17" hasCustomPrompt="1"/>
          </p:nvPr>
        </p:nvSpPr>
        <p:spPr>
          <a:xfrm>
            <a:off x="3239556"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81" name="Text Placeholder 6">
            <a:extLst>
              <a:ext uri="{FF2B5EF4-FFF2-40B4-BE49-F238E27FC236}">
                <a16:creationId xmlns:a16="http://schemas.microsoft.com/office/drawing/2014/main" id="{AAA7411B-CDBF-A149-991D-A1FE49C33DFE}"/>
              </a:ext>
            </a:extLst>
          </p:cNvPr>
          <p:cNvSpPr>
            <a:spLocks noGrp="1"/>
          </p:cNvSpPr>
          <p:nvPr>
            <p:ph type="body" sz="quarter" idx="18" hasCustomPrompt="1"/>
          </p:nvPr>
        </p:nvSpPr>
        <p:spPr>
          <a:xfrm>
            <a:off x="3239556"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82" name="Text Placeholder 6">
            <a:extLst>
              <a:ext uri="{FF2B5EF4-FFF2-40B4-BE49-F238E27FC236}">
                <a16:creationId xmlns:a16="http://schemas.microsoft.com/office/drawing/2014/main" id="{ADB258B7-2AAE-5C48-B066-A21DD8B552C0}"/>
              </a:ext>
            </a:extLst>
          </p:cNvPr>
          <p:cNvSpPr>
            <a:spLocks noGrp="1"/>
          </p:cNvSpPr>
          <p:nvPr>
            <p:ph type="body" sz="quarter" idx="19" hasCustomPrompt="1"/>
          </p:nvPr>
        </p:nvSpPr>
        <p:spPr>
          <a:xfrm>
            <a:off x="6119114"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83" name="Text Placeholder 6">
            <a:extLst>
              <a:ext uri="{FF2B5EF4-FFF2-40B4-BE49-F238E27FC236}">
                <a16:creationId xmlns:a16="http://schemas.microsoft.com/office/drawing/2014/main" id="{F0249E73-3616-574F-A8E5-AA3CB8319106}"/>
              </a:ext>
            </a:extLst>
          </p:cNvPr>
          <p:cNvSpPr>
            <a:spLocks noGrp="1"/>
          </p:cNvSpPr>
          <p:nvPr>
            <p:ph type="body" sz="quarter" idx="20" hasCustomPrompt="1"/>
          </p:nvPr>
        </p:nvSpPr>
        <p:spPr>
          <a:xfrm>
            <a:off x="6119114"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84" name="Text Placeholder 6">
            <a:extLst>
              <a:ext uri="{FF2B5EF4-FFF2-40B4-BE49-F238E27FC236}">
                <a16:creationId xmlns:a16="http://schemas.microsoft.com/office/drawing/2014/main" id="{8F73A1B1-0BD5-354F-9F47-A2FC034EB70D}"/>
              </a:ext>
            </a:extLst>
          </p:cNvPr>
          <p:cNvSpPr>
            <a:spLocks noGrp="1"/>
          </p:cNvSpPr>
          <p:nvPr>
            <p:ph type="body" sz="quarter" idx="21" hasCustomPrompt="1"/>
          </p:nvPr>
        </p:nvSpPr>
        <p:spPr>
          <a:xfrm>
            <a:off x="6119114"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85" name="Text Placeholder 6">
            <a:extLst>
              <a:ext uri="{FF2B5EF4-FFF2-40B4-BE49-F238E27FC236}">
                <a16:creationId xmlns:a16="http://schemas.microsoft.com/office/drawing/2014/main" id="{D5A425F6-3CC9-F845-9EEF-1B89239D1E52}"/>
              </a:ext>
            </a:extLst>
          </p:cNvPr>
          <p:cNvSpPr>
            <a:spLocks noGrp="1"/>
          </p:cNvSpPr>
          <p:nvPr>
            <p:ph type="body" sz="quarter" idx="22" hasCustomPrompt="1"/>
          </p:nvPr>
        </p:nvSpPr>
        <p:spPr>
          <a:xfrm>
            <a:off x="6119114"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86" name="Text Placeholder 6">
            <a:extLst>
              <a:ext uri="{FF2B5EF4-FFF2-40B4-BE49-F238E27FC236}">
                <a16:creationId xmlns:a16="http://schemas.microsoft.com/office/drawing/2014/main" id="{FA514857-C845-0541-9EE8-77328F0E7D5B}"/>
              </a:ext>
            </a:extLst>
          </p:cNvPr>
          <p:cNvSpPr>
            <a:spLocks noGrp="1"/>
          </p:cNvSpPr>
          <p:nvPr>
            <p:ph type="body" sz="quarter" idx="23" hasCustomPrompt="1"/>
          </p:nvPr>
        </p:nvSpPr>
        <p:spPr>
          <a:xfrm>
            <a:off x="8998671" y="1073150"/>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87" name="Text Placeholder 6">
            <a:extLst>
              <a:ext uri="{FF2B5EF4-FFF2-40B4-BE49-F238E27FC236}">
                <a16:creationId xmlns:a16="http://schemas.microsoft.com/office/drawing/2014/main" id="{7E3754B0-FAD2-2443-A6AA-D782C79F79DB}"/>
              </a:ext>
            </a:extLst>
          </p:cNvPr>
          <p:cNvSpPr>
            <a:spLocks noGrp="1"/>
          </p:cNvSpPr>
          <p:nvPr>
            <p:ph type="body" sz="quarter" idx="24" hasCustomPrompt="1"/>
          </p:nvPr>
        </p:nvSpPr>
        <p:spPr>
          <a:xfrm>
            <a:off x="8998671" y="1466689"/>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88" name="Text Placeholder 6">
            <a:extLst>
              <a:ext uri="{FF2B5EF4-FFF2-40B4-BE49-F238E27FC236}">
                <a16:creationId xmlns:a16="http://schemas.microsoft.com/office/drawing/2014/main" id="{0A512161-1478-E840-847C-CE0FA3769830}"/>
              </a:ext>
            </a:extLst>
          </p:cNvPr>
          <p:cNvSpPr>
            <a:spLocks noGrp="1"/>
          </p:cNvSpPr>
          <p:nvPr>
            <p:ph type="body" sz="quarter" idx="25" hasCustomPrompt="1"/>
          </p:nvPr>
        </p:nvSpPr>
        <p:spPr>
          <a:xfrm>
            <a:off x="8998671" y="1751391"/>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89" name="Text Placeholder 6">
            <a:extLst>
              <a:ext uri="{FF2B5EF4-FFF2-40B4-BE49-F238E27FC236}">
                <a16:creationId xmlns:a16="http://schemas.microsoft.com/office/drawing/2014/main" id="{0C6D09DC-1E71-4944-80BC-2E01DA6B9707}"/>
              </a:ext>
            </a:extLst>
          </p:cNvPr>
          <p:cNvSpPr>
            <a:spLocks noGrp="1"/>
          </p:cNvSpPr>
          <p:nvPr>
            <p:ph type="body" sz="quarter" idx="26" hasCustomPrompt="1"/>
          </p:nvPr>
        </p:nvSpPr>
        <p:spPr>
          <a:xfrm>
            <a:off x="8998671" y="2392662"/>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90" name="Text Placeholder 6">
            <a:extLst>
              <a:ext uri="{FF2B5EF4-FFF2-40B4-BE49-F238E27FC236}">
                <a16:creationId xmlns:a16="http://schemas.microsoft.com/office/drawing/2014/main" id="{0C800B41-610B-4149-801F-EEEBC03C2BB3}"/>
              </a:ext>
            </a:extLst>
          </p:cNvPr>
          <p:cNvSpPr>
            <a:spLocks noGrp="1"/>
          </p:cNvSpPr>
          <p:nvPr>
            <p:ph type="body" sz="quarter" idx="27" hasCustomPrompt="1"/>
          </p:nvPr>
        </p:nvSpPr>
        <p:spPr>
          <a:xfrm>
            <a:off x="371938"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91" name="Text Placeholder 6">
            <a:extLst>
              <a:ext uri="{FF2B5EF4-FFF2-40B4-BE49-F238E27FC236}">
                <a16:creationId xmlns:a16="http://schemas.microsoft.com/office/drawing/2014/main" id="{92B66CDB-4811-7A46-A093-02BA961AE8A5}"/>
              </a:ext>
            </a:extLst>
          </p:cNvPr>
          <p:cNvSpPr>
            <a:spLocks noGrp="1"/>
          </p:cNvSpPr>
          <p:nvPr>
            <p:ph type="body" sz="quarter" idx="28" hasCustomPrompt="1"/>
          </p:nvPr>
        </p:nvSpPr>
        <p:spPr>
          <a:xfrm>
            <a:off x="371938"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92" name="Text Placeholder 6">
            <a:extLst>
              <a:ext uri="{FF2B5EF4-FFF2-40B4-BE49-F238E27FC236}">
                <a16:creationId xmlns:a16="http://schemas.microsoft.com/office/drawing/2014/main" id="{7CAF6228-52C9-F34E-83CB-B9AD09E50FBE}"/>
              </a:ext>
            </a:extLst>
          </p:cNvPr>
          <p:cNvSpPr>
            <a:spLocks noGrp="1"/>
          </p:cNvSpPr>
          <p:nvPr>
            <p:ph type="body" sz="quarter" idx="29" hasCustomPrompt="1"/>
          </p:nvPr>
        </p:nvSpPr>
        <p:spPr>
          <a:xfrm>
            <a:off x="371938"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93" name="Text Placeholder 6">
            <a:extLst>
              <a:ext uri="{FF2B5EF4-FFF2-40B4-BE49-F238E27FC236}">
                <a16:creationId xmlns:a16="http://schemas.microsoft.com/office/drawing/2014/main" id="{08ABF058-971A-A64C-9AB2-6A26BDD76D01}"/>
              </a:ext>
            </a:extLst>
          </p:cNvPr>
          <p:cNvSpPr>
            <a:spLocks noGrp="1"/>
          </p:cNvSpPr>
          <p:nvPr>
            <p:ph type="body" sz="quarter" idx="30" hasCustomPrompt="1"/>
          </p:nvPr>
        </p:nvSpPr>
        <p:spPr>
          <a:xfrm>
            <a:off x="371938"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94" name="Text Placeholder 6">
            <a:extLst>
              <a:ext uri="{FF2B5EF4-FFF2-40B4-BE49-F238E27FC236}">
                <a16:creationId xmlns:a16="http://schemas.microsoft.com/office/drawing/2014/main" id="{10898A28-3A35-C44F-B00A-A4B130FE6E01}"/>
              </a:ext>
            </a:extLst>
          </p:cNvPr>
          <p:cNvSpPr>
            <a:spLocks noGrp="1"/>
          </p:cNvSpPr>
          <p:nvPr>
            <p:ph type="body" sz="quarter" idx="31" hasCustomPrompt="1"/>
          </p:nvPr>
        </p:nvSpPr>
        <p:spPr>
          <a:xfrm>
            <a:off x="3242460"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95" name="Text Placeholder 6">
            <a:extLst>
              <a:ext uri="{FF2B5EF4-FFF2-40B4-BE49-F238E27FC236}">
                <a16:creationId xmlns:a16="http://schemas.microsoft.com/office/drawing/2014/main" id="{8CB48A1B-F3E1-9342-9F96-2A669FEB8556}"/>
              </a:ext>
            </a:extLst>
          </p:cNvPr>
          <p:cNvSpPr>
            <a:spLocks noGrp="1"/>
          </p:cNvSpPr>
          <p:nvPr>
            <p:ph type="body" sz="quarter" idx="32" hasCustomPrompt="1"/>
          </p:nvPr>
        </p:nvSpPr>
        <p:spPr>
          <a:xfrm>
            <a:off x="3242460"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96" name="Text Placeholder 6">
            <a:extLst>
              <a:ext uri="{FF2B5EF4-FFF2-40B4-BE49-F238E27FC236}">
                <a16:creationId xmlns:a16="http://schemas.microsoft.com/office/drawing/2014/main" id="{2737EBFE-85B1-F444-90EA-2A420513A16F}"/>
              </a:ext>
            </a:extLst>
          </p:cNvPr>
          <p:cNvSpPr>
            <a:spLocks noGrp="1"/>
          </p:cNvSpPr>
          <p:nvPr>
            <p:ph type="body" sz="quarter" idx="33" hasCustomPrompt="1"/>
          </p:nvPr>
        </p:nvSpPr>
        <p:spPr>
          <a:xfrm>
            <a:off x="3242460"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97" name="Text Placeholder 6">
            <a:extLst>
              <a:ext uri="{FF2B5EF4-FFF2-40B4-BE49-F238E27FC236}">
                <a16:creationId xmlns:a16="http://schemas.microsoft.com/office/drawing/2014/main" id="{4918F6ED-78B0-294D-BAF9-4DDCA62D8EA2}"/>
              </a:ext>
            </a:extLst>
          </p:cNvPr>
          <p:cNvSpPr>
            <a:spLocks noGrp="1"/>
          </p:cNvSpPr>
          <p:nvPr>
            <p:ph type="body" sz="quarter" idx="34" hasCustomPrompt="1"/>
          </p:nvPr>
        </p:nvSpPr>
        <p:spPr>
          <a:xfrm>
            <a:off x="3242460"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98" name="Text Placeholder 6">
            <a:extLst>
              <a:ext uri="{FF2B5EF4-FFF2-40B4-BE49-F238E27FC236}">
                <a16:creationId xmlns:a16="http://schemas.microsoft.com/office/drawing/2014/main" id="{A6135E30-376A-414E-BF09-74BBC4932D5C}"/>
              </a:ext>
            </a:extLst>
          </p:cNvPr>
          <p:cNvSpPr>
            <a:spLocks noGrp="1"/>
          </p:cNvSpPr>
          <p:nvPr>
            <p:ph type="body" sz="quarter" idx="35" hasCustomPrompt="1"/>
          </p:nvPr>
        </p:nvSpPr>
        <p:spPr>
          <a:xfrm>
            <a:off x="6124556"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99" name="Text Placeholder 6">
            <a:extLst>
              <a:ext uri="{FF2B5EF4-FFF2-40B4-BE49-F238E27FC236}">
                <a16:creationId xmlns:a16="http://schemas.microsoft.com/office/drawing/2014/main" id="{6627D379-785F-C044-81F9-C41092B1CCF2}"/>
              </a:ext>
            </a:extLst>
          </p:cNvPr>
          <p:cNvSpPr>
            <a:spLocks noGrp="1"/>
          </p:cNvSpPr>
          <p:nvPr>
            <p:ph type="body" sz="quarter" idx="36" hasCustomPrompt="1"/>
          </p:nvPr>
        </p:nvSpPr>
        <p:spPr>
          <a:xfrm>
            <a:off x="6124556"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00" name="Text Placeholder 6">
            <a:extLst>
              <a:ext uri="{FF2B5EF4-FFF2-40B4-BE49-F238E27FC236}">
                <a16:creationId xmlns:a16="http://schemas.microsoft.com/office/drawing/2014/main" id="{CB63DC66-2C8A-7644-9387-8F86500667CD}"/>
              </a:ext>
            </a:extLst>
          </p:cNvPr>
          <p:cNvSpPr>
            <a:spLocks noGrp="1"/>
          </p:cNvSpPr>
          <p:nvPr>
            <p:ph type="body" sz="quarter" idx="37" hasCustomPrompt="1"/>
          </p:nvPr>
        </p:nvSpPr>
        <p:spPr>
          <a:xfrm>
            <a:off x="6124556"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01" name="Text Placeholder 6">
            <a:extLst>
              <a:ext uri="{FF2B5EF4-FFF2-40B4-BE49-F238E27FC236}">
                <a16:creationId xmlns:a16="http://schemas.microsoft.com/office/drawing/2014/main" id="{F80FF2AA-1A95-4D49-AFC4-7AFFBA6F2FDE}"/>
              </a:ext>
            </a:extLst>
          </p:cNvPr>
          <p:cNvSpPr>
            <a:spLocks noGrp="1"/>
          </p:cNvSpPr>
          <p:nvPr>
            <p:ph type="body" sz="quarter" idx="38" hasCustomPrompt="1"/>
          </p:nvPr>
        </p:nvSpPr>
        <p:spPr>
          <a:xfrm>
            <a:off x="6124556"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02" name="Text Placeholder 6">
            <a:extLst>
              <a:ext uri="{FF2B5EF4-FFF2-40B4-BE49-F238E27FC236}">
                <a16:creationId xmlns:a16="http://schemas.microsoft.com/office/drawing/2014/main" id="{06606E1D-2ED4-B644-BC72-4DAA5DDF6D20}"/>
              </a:ext>
            </a:extLst>
          </p:cNvPr>
          <p:cNvSpPr>
            <a:spLocks noGrp="1"/>
          </p:cNvSpPr>
          <p:nvPr>
            <p:ph type="body" sz="quarter" idx="39" hasCustomPrompt="1"/>
          </p:nvPr>
        </p:nvSpPr>
        <p:spPr>
          <a:xfrm>
            <a:off x="8995077" y="2820926"/>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03" name="Text Placeholder 6">
            <a:extLst>
              <a:ext uri="{FF2B5EF4-FFF2-40B4-BE49-F238E27FC236}">
                <a16:creationId xmlns:a16="http://schemas.microsoft.com/office/drawing/2014/main" id="{E045F8CB-2F53-5F44-869C-3A006D09164E}"/>
              </a:ext>
            </a:extLst>
          </p:cNvPr>
          <p:cNvSpPr>
            <a:spLocks noGrp="1"/>
          </p:cNvSpPr>
          <p:nvPr>
            <p:ph type="body" sz="quarter" idx="40" hasCustomPrompt="1"/>
          </p:nvPr>
        </p:nvSpPr>
        <p:spPr>
          <a:xfrm>
            <a:off x="8995077" y="3214465"/>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04" name="Text Placeholder 6">
            <a:extLst>
              <a:ext uri="{FF2B5EF4-FFF2-40B4-BE49-F238E27FC236}">
                <a16:creationId xmlns:a16="http://schemas.microsoft.com/office/drawing/2014/main" id="{E86FE3B4-B347-F14E-99A3-8832D5A50299}"/>
              </a:ext>
            </a:extLst>
          </p:cNvPr>
          <p:cNvSpPr>
            <a:spLocks noGrp="1"/>
          </p:cNvSpPr>
          <p:nvPr>
            <p:ph type="body" sz="quarter" idx="41" hasCustomPrompt="1"/>
          </p:nvPr>
        </p:nvSpPr>
        <p:spPr>
          <a:xfrm>
            <a:off x="8995077" y="3499167"/>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05" name="Text Placeholder 6">
            <a:extLst>
              <a:ext uri="{FF2B5EF4-FFF2-40B4-BE49-F238E27FC236}">
                <a16:creationId xmlns:a16="http://schemas.microsoft.com/office/drawing/2014/main" id="{9130ED90-8ACF-BA4A-9D00-C68D8419362A}"/>
              </a:ext>
            </a:extLst>
          </p:cNvPr>
          <p:cNvSpPr>
            <a:spLocks noGrp="1"/>
          </p:cNvSpPr>
          <p:nvPr>
            <p:ph type="body" sz="quarter" idx="42" hasCustomPrompt="1"/>
          </p:nvPr>
        </p:nvSpPr>
        <p:spPr>
          <a:xfrm>
            <a:off x="8995077" y="4140438"/>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06" name="Text Placeholder 6">
            <a:extLst>
              <a:ext uri="{FF2B5EF4-FFF2-40B4-BE49-F238E27FC236}">
                <a16:creationId xmlns:a16="http://schemas.microsoft.com/office/drawing/2014/main" id="{752E680D-83B5-D74D-AA21-8110B124EF08}"/>
              </a:ext>
            </a:extLst>
          </p:cNvPr>
          <p:cNvSpPr>
            <a:spLocks noGrp="1"/>
          </p:cNvSpPr>
          <p:nvPr>
            <p:ph type="body" sz="quarter" idx="43" hasCustomPrompt="1"/>
          </p:nvPr>
        </p:nvSpPr>
        <p:spPr>
          <a:xfrm>
            <a:off x="371938"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07" name="Text Placeholder 6">
            <a:extLst>
              <a:ext uri="{FF2B5EF4-FFF2-40B4-BE49-F238E27FC236}">
                <a16:creationId xmlns:a16="http://schemas.microsoft.com/office/drawing/2014/main" id="{0886AAB9-2996-5F47-9517-86CE546E6B85}"/>
              </a:ext>
            </a:extLst>
          </p:cNvPr>
          <p:cNvSpPr>
            <a:spLocks noGrp="1"/>
          </p:cNvSpPr>
          <p:nvPr>
            <p:ph type="body" sz="quarter" idx="44" hasCustomPrompt="1"/>
          </p:nvPr>
        </p:nvSpPr>
        <p:spPr>
          <a:xfrm>
            <a:off x="371938"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08" name="Text Placeholder 6">
            <a:extLst>
              <a:ext uri="{FF2B5EF4-FFF2-40B4-BE49-F238E27FC236}">
                <a16:creationId xmlns:a16="http://schemas.microsoft.com/office/drawing/2014/main" id="{9DC541FD-366E-5044-8F3D-A075E8859D1D}"/>
              </a:ext>
            </a:extLst>
          </p:cNvPr>
          <p:cNvSpPr>
            <a:spLocks noGrp="1"/>
          </p:cNvSpPr>
          <p:nvPr>
            <p:ph type="body" sz="quarter" idx="45" hasCustomPrompt="1"/>
          </p:nvPr>
        </p:nvSpPr>
        <p:spPr>
          <a:xfrm>
            <a:off x="371938"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09" name="Text Placeholder 6">
            <a:extLst>
              <a:ext uri="{FF2B5EF4-FFF2-40B4-BE49-F238E27FC236}">
                <a16:creationId xmlns:a16="http://schemas.microsoft.com/office/drawing/2014/main" id="{463AD912-F828-AA4F-83B6-451B3A5E06BA}"/>
              </a:ext>
            </a:extLst>
          </p:cNvPr>
          <p:cNvSpPr>
            <a:spLocks noGrp="1"/>
          </p:cNvSpPr>
          <p:nvPr>
            <p:ph type="body" sz="quarter" idx="46" hasCustomPrompt="1"/>
          </p:nvPr>
        </p:nvSpPr>
        <p:spPr>
          <a:xfrm>
            <a:off x="371938"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10" name="Text Placeholder 6">
            <a:extLst>
              <a:ext uri="{FF2B5EF4-FFF2-40B4-BE49-F238E27FC236}">
                <a16:creationId xmlns:a16="http://schemas.microsoft.com/office/drawing/2014/main" id="{7F0C38AC-2727-EC42-9CB1-7A8C8C639003}"/>
              </a:ext>
            </a:extLst>
          </p:cNvPr>
          <p:cNvSpPr>
            <a:spLocks noGrp="1"/>
          </p:cNvSpPr>
          <p:nvPr>
            <p:ph type="body" sz="quarter" idx="47" hasCustomPrompt="1"/>
          </p:nvPr>
        </p:nvSpPr>
        <p:spPr>
          <a:xfrm>
            <a:off x="3242460"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11" name="Text Placeholder 6">
            <a:extLst>
              <a:ext uri="{FF2B5EF4-FFF2-40B4-BE49-F238E27FC236}">
                <a16:creationId xmlns:a16="http://schemas.microsoft.com/office/drawing/2014/main" id="{4C5028C5-82F0-9444-BB19-CC21B8C0F43C}"/>
              </a:ext>
            </a:extLst>
          </p:cNvPr>
          <p:cNvSpPr>
            <a:spLocks noGrp="1"/>
          </p:cNvSpPr>
          <p:nvPr>
            <p:ph type="body" sz="quarter" idx="48" hasCustomPrompt="1"/>
          </p:nvPr>
        </p:nvSpPr>
        <p:spPr>
          <a:xfrm>
            <a:off x="3242460"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12" name="Text Placeholder 6">
            <a:extLst>
              <a:ext uri="{FF2B5EF4-FFF2-40B4-BE49-F238E27FC236}">
                <a16:creationId xmlns:a16="http://schemas.microsoft.com/office/drawing/2014/main" id="{BE6B310F-6756-624E-BD02-080BDCC4C65A}"/>
              </a:ext>
            </a:extLst>
          </p:cNvPr>
          <p:cNvSpPr>
            <a:spLocks noGrp="1"/>
          </p:cNvSpPr>
          <p:nvPr>
            <p:ph type="body" sz="quarter" idx="49" hasCustomPrompt="1"/>
          </p:nvPr>
        </p:nvSpPr>
        <p:spPr>
          <a:xfrm>
            <a:off x="3242460"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13" name="Text Placeholder 6">
            <a:extLst>
              <a:ext uri="{FF2B5EF4-FFF2-40B4-BE49-F238E27FC236}">
                <a16:creationId xmlns:a16="http://schemas.microsoft.com/office/drawing/2014/main" id="{7B0B331A-9D96-8B42-AF53-24A505876EE6}"/>
              </a:ext>
            </a:extLst>
          </p:cNvPr>
          <p:cNvSpPr>
            <a:spLocks noGrp="1"/>
          </p:cNvSpPr>
          <p:nvPr>
            <p:ph type="body" sz="quarter" idx="50" hasCustomPrompt="1"/>
          </p:nvPr>
        </p:nvSpPr>
        <p:spPr>
          <a:xfrm>
            <a:off x="3242460"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14" name="Text Placeholder 6">
            <a:extLst>
              <a:ext uri="{FF2B5EF4-FFF2-40B4-BE49-F238E27FC236}">
                <a16:creationId xmlns:a16="http://schemas.microsoft.com/office/drawing/2014/main" id="{CA06D0D7-D418-2A4A-AAF2-255E8FD1F7C1}"/>
              </a:ext>
            </a:extLst>
          </p:cNvPr>
          <p:cNvSpPr>
            <a:spLocks noGrp="1"/>
          </p:cNvSpPr>
          <p:nvPr>
            <p:ph type="body" sz="quarter" idx="51" hasCustomPrompt="1"/>
          </p:nvPr>
        </p:nvSpPr>
        <p:spPr>
          <a:xfrm>
            <a:off x="6124556"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15" name="Text Placeholder 6">
            <a:extLst>
              <a:ext uri="{FF2B5EF4-FFF2-40B4-BE49-F238E27FC236}">
                <a16:creationId xmlns:a16="http://schemas.microsoft.com/office/drawing/2014/main" id="{D367DD51-72A2-E44C-ACE7-BF3A5AA22375}"/>
              </a:ext>
            </a:extLst>
          </p:cNvPr>
          <p:cNvSpPr>
            <a:spLocks noGrp="1"/>
          </p:cNvSpPr>
          <p:nvPr>
            <p:ph type="body" sz="quarter" idx="52" hasCustomPrompt="1"/>
          </p:nvPr>
        </p:nvSpPr>
        <p:spPr>
          <a:xfrm>
            <a:off x="6124556"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16" name="Text Placeholder 6">
            <a:extLst>
              <a:ext uri="{FF2B5EF4-FFF2-40B4-BE49-F238E27FC236}">
                <a16:creationId xmlns:a16="http://schemas.microsoft.com/office/drawing/2014/main" id="{D84F709B-09C5-F743-B584-1668E3736896}"/>
              </a:ext>
            </a:extLst>
          </p:cNvPr>
          <p:cNvSpPr>
            <a:spLocks noGrp="1"/>
          </p:cNvSpPr>
          <p:nvPr>
            <p:ph type="body" sz="quarter" idx="53" hasCustomPrompt="1"/>
          </p:nvPr>
        </p:nvSpPr>
        <p:spPr>
          <a:xfrm>
            <a:off x="6124556"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17" name="Text Placeholder 6">
            <a:extLst>
              <a:ext uri="{FF2B5EF4-FFF2-40B4-BE49-F238E27FC236}">
                <a16:creationId xmlns:a16="http://schemas.microsoft.com/office/drawing/2014/main" id="{3AE5009F-6316-464C-966B-05BE070F38DC}"/>
              </a:ext>
            </a:extLst>
          </p:cNvPr>
          <p:cNvSpPr>
            <a:spLocks noGrp="1"/>
          </p:cNvSpPr>
          <p:nvPr>
            <p:ph type="body" sz="quarter" idx="54" hasCustomPrompt="1"/>
          </p:nvPr>
        </p:nvSpPr>
        <p:spPr>
          <a:xfrm>
            <a:off x="6124556"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118" name="Text Placeholder 6">
            <a:extLst>
              <a:ext uri="{FF2B5EF4-FFF2-40B4-BE49-F238E27FC236}">
                <a16:creationId xmlns:a16="http://schemas.microsoft.com/office/drawing/2014/main" id="{C1FB4919-2ED9-4448-B836-82534F95851A}"/>
              </a:ext>
            </a:extLst>
          </p:cNvPr>
          <p:cNvSpPr>
            <a:spLocks noGrp="1"/>
          </p:cNvSpPr>
          <p:nvPr>
            <p:ph type="body" sz="quarter" idx="55" hasCustomPrompt="1"/>
          </p:nvPr>
        </p:nvSpPr>
        <p:spPr>
          <a:xfrm>
            <a:off x="8995077" y="4591852"/>
            <a:ext cx="2832100" cy="382967"/>
          </a:xfrm>
        </p:spPr>
        <p:txBody>
          <a:bodyPr lIns="180000" tIns="180000" rIns="180000">
            <a:spAutoFit/>
          </a:bodyPr>
          <a:lstStyle>
            <a:lvl1pPr marL="0" indent="0">
              <a:buNone/>
              <a:defRPr sz="1200">
                <a:solidFill>
                  <a:srgbClr val="AFAEB2"/>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Tag</a:t>
            </a:r>
            <a:endParaRPr lang="ar-SA" dirty="0"/>
          </a:p>
        </p:txBody>
      </p:sp>
      <p:sp>
        <p:nvSpPr>
          <p:cNvPr id="119" name="Text Placeholder 6">
            <a:extLst>
              <a:ext uri="{FF2B5EF4-FFF2-40B4-BE49-F238E27FC236}">
                <a16:creationId xmlns:a16="http://schemas.microsoft.com/office/drawing/2014/main" id="{4D9D6562-1B70-9543-8E99-B2382011AC3B}"/>
              </a:ext>
            </a:extLst>
          </p:cNvPr>
          <p:cNvSpPr>
            <a:spLocks noGrp="1"/>
          </p:cNvSpPr>
          <p:nvPr>
            <p:ph type="body" sz="quarter" idx="56" hasCustomPrompt="1"/>
          </p:nvPr>
        </p:nvSpPr>
        <p:spPr>
          <a:xfrm>
            <a:off x="8995077" y="4985391"/>
            <a:ext cx="2832100" cy="201209"/>
          </a:xfrm>
        </p:spPr>
        <p:txBody>
          <a:bodyPr lIns="180000" tIns="0" rIns="180000">
            <a:spAutoFit/>
          </a:bodyPr>
          <a:lstStyle>
            <a:lvl1pPr marL="0" indent="0">
              <a:buNone/>
              <a:defRPr sz="1200">
                <a:solidFill>
                  <a:srgbClr val="79787F"/>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Description</a:t>
            </a:r>
            <a:endParaRPr lang="ar-SA" dirty="0"/>
          </a:p>
        </p:txBody>
      </p:sp>
      <p:sp>
        <p:nvSpPr>
          <p:cNvPr id="120" name="Text Placeholder 6">
            <a:extLst>
              <a:ext uri="{FF2B5EF4-FFF2-40B4-BE49-F238E27FC236}">
                <a16:creationId xmlns:a16="http://schemas.microsoft.com/office/drawing/2014/main" id="{F4DE1948-7ACF-E746-9377-AEDC57B144F7}"/>
              </a:ext>
            </a:extLst>
          </p:cNvPr>
          <p:cNvSpPr>
            <a:spLocks noGrp="1"/>
          </p:cNvSpPr>
          <p:nvPr>
            <p:ph type="body" sz="quarter" idx="57" hasCustomPrompt="1"/>
          </p:nvPr>
        </p:nvSpPr>
        <p:spPr>
          <a:xfrm>
            <a:off x="8995077" y="5270093"/>
            <a:ext cx="2832100" cy="553998"/>
          </a:xfrm>
        </p:spPr>
        <p:txBody>
          <a:bodyPr lIns="180000" tIns="0" rIns="180000">
            <a:spAutoFit/>
          </a:bodyPr>
          <a:lstStyle>
            <a:lvl1pPr marL="0" indent="0">
              <a:lnSpc>
                <a:spcPct val="100000"/>
              </a:lnSpc>
              <a:spcBef>
                <a:spcPts val="0"/>
              </a:spcBef>
              <a:buNone/>
              <a:defRPr sz="1200" b="1" u="sng">
                <a:solidFill>
                  <a:schemeClr val="accent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Item Name or Publication Title Which Can Take Up To Three Lines</a:t>
            </a:r>
            <a:endParaRPr lang="ar-SA" dirty="0"/>
          </a:p>
        </p:txBody>
      </p:sp>
      <p:sp>
        <p:nvSpPr>
          <p:cNvPr id="121" name="Text Placeholder 6">
            <a:extLst>
              <a:ext uri="{FF2B5EF4-FFF2-40B4-BE49-F238E27FC236}">
                <a16:creationId xmlns:a16="http://schemas.microsoft.com/office/drawing/2014/main" id="{D71164E4-CA15-194B-B6BE-D79D81606716}"/>
              </a:ext>
            </a:extLst>
          </p:cNvPr>
          <p:cNvSpPr>
            <a:spLocks noGrp="1"/>
          </p:cNvSpPr>
          <p:nvPr>
            <p:ph type="body" sz="quarter" idx="58" hasCustomPrompt="1"/>
          </p:nvPr>
        </p:nvSpPr>
        <p:spPr>
          <a:xfrm>
            <a:off x="8995077" y="5911364"/>
            <a:ext cx="2832100" cy="201209"/>
          </a:xfrm>
        </p:spPr>
        <p:txBody>
          <a:bodyPr lIns="180000" tIns="0" rIns="180000">
            <a:spAutoFit/>
          </a:bodyPr>
          <a:lstStyle>
            <a:lvl1pPr marL="0" indent="0">
              <a:buNone/>
              <a:defRPr sz="1200">
                <a:solidFill>
                  <a:schemeClr val="tx1"/>
                </a:solidFill>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Author Name</a:t>
            </a:r>
            <a:endParaRPr lang="ar-SA" dirty="0"/>
          </a:p>
        </p:txBody>
      </p:sp>
      <p:sp>
        <p:nvSpPr>
          <p:cNvPr id="5" name="Title 4">
            <a:extLst>
              <a:ext uri="{FF2B5EF4-FFF2-40B4-BE49-F238E27FC236}">
                <a16:creationId xmlns:a16="http://schemas.microsoft.com/office/drawing/2014/main" id="{7DCE1CBE-E68A-8846-AB88-12EB113CEA1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900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guide id="2" pos="347">
          <p15:clr>
            <a:srgbClr val="FBAE40"/>
          </p15:clr>
        </p15:guide>
        <p15:guide id="3" orient="horz">
          <p15:clr>
            <a:srgbClr val="FBAE40"/>
          </p15:clr>
        </p15:guide>
        <p15:guide id="4" pos="2184">
          <p15:clr>
            <a:srgbClr val="FBAE40"/>
          </p15:clr>
        </p15:guide>
        <p15:guide id="5" pos="4009">
          <p15:clr>
            <a:srgbClr val="FBAE40"/>
          </p15:clr>
        </p15:guide>
        <p15:guide id="6" pos="5850">
          <p15:clr>
            <a:srgbClr val="FBAE40"/>
          </p15:clr>
        </p15:guide>
        <p15:guide id="7" orient="horz" pos="161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with 9 Boxe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A769-E707-DC41-BC7E-358DF2A982E4}"/>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6" name="Text Placeholder 5">
            <a:extLst>
              <a:ext uri="{FF2B5EF4-FFF2-40B4-BE49-F238E27FC236}">
                <a16:creationId xmlns:a16="http://schemas.microsoft.com/office/drawing/2014/main" id="{235A3F25-570F-F04E-B00A-D48AF5760714}"/>
              </a:ext>
            </a:extLst>
          </p:cNvPr>
          <p:cNvSpPr>
            <a:spLocks noGrp="1"/>
          </p:cNvSpPr>
          <p:nvPr>
            <p:ph type="body" sz="quarter" idx="11" hasCustomPrompt="1"/>
          </p:nvPr>
        </p:nvSpPr>
        <p:spPr>
          <a:xfrm>
            <a:off x="360000" y="1004400"/>
            <a:ext cx="11448000" cy="356400"/>
          </a:xfrm>
        </p:spPr>
        <p:txBody>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lang="en-US" sz="1600" b="1" smtClean="0">
                <a:solidFill>
                  <a:schemeClr val="tx2">
                    <a:lumMod val="60000"/>
                    <a:lumOff val="40000"/>
                  </a:schemeClr>
                </a:solidFill>
              </a:defRPr>
            </a:lvl1pPr>
          </a:lstStyle>
          <a:p>
            <a:pPr marL="0" marR="0" lvl="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a:pPr>
            <a:r>
              <a:rPr lang="en-US" sz="1600" dirty="0">
                <a:solidFill>
                  <a:schemeClr val="tx2">
                    <a:lumMod val="60000"/>
                    <a:lumOff val="40000"/>
                  </a:schemeClr>
                </a:solidFill>
                <a:latin typeface="+mj-lt"/>
              </a:rPr>
              <a:t>Lorem Ipsum is simply dummy text</a:t>
            </a:r>
          </a:p>
        </p:txBody>
      </p:sp>
      <p:sp>
        <p:nvSpPr>
          <p:cNvPr id="8" name="Rectangle 7">
            <a:extLst>
              <a:ext uri="{FF2B5EF4-FFF2-40B4-BE49-F238E27FC236}">
                <a16:creationId xmlns:a16="http://schemas.microsoft.com/office/drawing/2014/main" id="{62134344-C9D9-5148-8699-71277A806039}"/>
              </a:ext>
            </a:extLst>
          </p:cNvPr>
          <p:cNvSpPr/>
          <p:nvPr userDrawn="1"/>
        </p:nvSpPr>
        <p:spPr>
          <a:xfrm>
            <a:off x="3600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72" name="Rectangle 71">
            <a:extLst>
              <a:ext uri="{FF2B5EF4-FFF2-40B4-BE49-F238E27FC236}">
                <a16:creationId xmlns:a16="http://schemas.microsoft.com/office/drawing/2014/main" id="{094A5378-4235-314B-BAAE-7932FF25421A}"/>
              </a:ext>
            </a:extLst>
          </p:cNvPr>
          <p:cNvSpPr/>
          <p:nvPr userDrawn="1"/>
        </p:nvSpPr>
        <p:spPr>
          <a:xfrm>
            <a:off x="32472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73" name="Rectangle 72">
            <a:extLst>
              <a:ext uri="{FF2B5EF4-FFF2-40B4-BE49-F238E27FC236}">
                <a16:creationId xmlns:a16="http://schemas.microsoft.com/office/drawing/2014/main" id="{38A9CAD7-AE2E-CD4B-970F-3FD95F739EBD}"/>
              </a:ext>
            </a:extLst>
          </p:cNvPr>
          <p:cNvSpPr/>
          <p:nvPr userDrawn="1"/>
        </p:nvSpPr>
        <p:spPr>
          <a:xfrm>
            <a:off x="61344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74" name="Rectangle 73">
            <a:extLst>
              <a:ext uri="{FF2B5EF4-FFF2-40B4-BE49-F238E27FC236}">
                <a16:creationId xmlns:a16="http://schemas.microsoft.com/office/drawing/2014/main" id="{9978CE02-1F23-A84E-A84A-23A64C35B22F}"/>
              </a:ext>
            </a:extLst>
          </p:cNvPr>
          <p:cNvSpPr/>
          <p:nvPr userDrawn="1"/>
        </p:nvSpPr>
        <p:spPr>
          <a:xfrm>
            <a:off x="9021600" y="1371600"/>
            <a:ext cx="2808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0" name="Text Placeholder 9">
            <a:extLst>
              <a:ext uri="{FF2B5EF4-FFF2-40B4-BE49-F238E27FC236}">
                <a16:creationId xmlns:a16="http://schemas.microsoft.com/office/drawing/2014/main" id="{39C6CB86-76A1-FC49-977F-07EA213FFC6F}"/>
              </a:ext>
            </a:extLst>
          </p:cNvPr>
          <p:cNvSpPr>
            <a:spLocks noGrp="1"/>
          </p:cNvSpPr>
          <p:nvPr>
            <p:ph type="body" sz="quarter" idx="12" hasCustomPrompt="1"/>
          </p:nvPr>
        </p:nvSpPr>
        <p:spPr>
          <a:xfrm>
            <a:off x="360363"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76" name="Text Placeholder 9">
            <a:extLst>
              <a:ext uri="{FF2B5EF4-FFF2-40B4-BE49-F238E27FC236}">
                <a16:creationId xmlns:a16="http://schemas.microsoft.com/office/drawing/2014/main" id="{C3B5E739-104B-EB40-AC0E-FE280B84924F}"/>
              </a:ext>
            </a:extLst>
          </p:cNvPr>
          <p:cNvSpPr>
            <a:spLocks noGrp="1"/>
          </p:cNvSpPr>
          <p:nvPr>
            <p:ph type="body" sz="quarter" idx="13" hasCustomPrompt="1"/>
          </p:nvPr>
        </p:nvSpPr>
        <p:spPr>
          <a:xfrm>
            <a:off x="360363"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77" name="Text Placeholder 9">
            <a:extLst>
              <a:ext uri="{FF2B5EF4-FFF2-40B4-BE49-F238E27FC236}">
                <a16:creationId xmlns:a16="http://schemas.microsoft.com/office/drawing/2014/main" id="{246ADBD8-3FCE-EA49-8685-6EC4B21126F8}"/>
              </a:ext>
            </a:extLst>
          </p:cNvPr>
          <p:cNvSpPr>
            <a:spLocks noGrp="1"/>
          </p:cNvSpPr>
          <p:nvPr>
            <p:ph type="body" sz="quarter" idx="14" hasCustomPrompt="1"/>
          </p:nvPr>
        </p:nvSpPr>
        <p:spPr>
          <a:xfrm>
            <a:off x="3247200"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122" name="Text Placeholder 9">
            <a:extLst>
              <a:ext uri="{FF2B5EF4-FFF2-40B4-BE49-F238E27FC236}">
                <a16:creationId xmlns:a16="http://schemas.microsoft.com/office/drawing/2014/main" id="{90E3D419-9098-284E-99E1-A52BEC5BCD4B}"/>
              </a:ext>
            </a:extLst>
          </p:cNvPr>
          <p:cNvSpPr>
            <a:spLocks noGrp="1"/>
          </p:cNvSpPr>
          <p:nvPr>
            <p:ph type="body" sz="quarter" idx="15" hasCustomPrompt="1"/>
          </p:nvPr>
        </p:nvSpPr>
        <p:spPr>
          <a:xfrm>
            <a:off x="3247200"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123" name="Text Placeholder 9">
            <a:extLst>
              <a:ext uri="{FF2B5EF4-FFF2-40B4-BE49-F238E27FC236}">
                <a16:creationId xmlns:a16="http://schemas.microsoft.com/office/drawing/2014/main" id="{CF1E4747-8E3D-9A46-8D29-013319752D67}"/>
              </a:ext>
            </a:extLst>
          </p:cNvPr>
          <p:cNvSpPr>
            <a:spLocks noGrp="1"/>
          </p:cNvSpPr>
          <p:nvPr>
            <p:ph type="body" sz="quarter" idx="16" hasCustomPrompt="1"/>
          </p:nvPr>
        </p:nvSpPr>
        <p:spPr>
          <a:xfrm>
            <a:off x="6134400"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124" name="Text Placeholder 9">
            <a:extLst>
              <a:ext uri="{FF2B5EF4-FFF2-40B4-BE49-F238E27FC236}">
                <a16:creationId xmlns:a16="http://schemas.microsoft.com/office/drawing/2014/main" id="{FF5DBCF7-D82D-7D40-945C-0C7000B2AFBF}"/>
              </a:ext>
            </a:extLst>
          </p:cNvPr>
          <p:cNvSpPr>
            <a:spLocks noGrp="1"/>
          </p:cNvSpPr>
          <p:nvPr>
            <p:ph type="body" sz="quarter" idx="17" hasCustomPrompt="1"/>
          </p:nvPr>
        </p:nvSpPr>
        <p:spPr>
          <a:xfrm>
            <a:off x="6134400"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125" name="Text Placeholder 9">
            <a:extLst>
              <a:ext uri="{FF2B5EF4-FFF2-40B4-BE49-F238E27FC236}">
                <a16:creationId xmlns:a16="http://schemas.microsoft.com/office/drawing/2014/main" id="{45C289BF-8449-2646-99A0-60E3EAC6E2AA}"/>
              </a:ext>
            </a:extLst>
          </p:cNvPr>
          <p:cNvSpPr>
            <a:spLocks noGrp="1"/>
          </p:cNvSpPr>
          <p:nvPr>
            <p:ph type="body" sz="quarter" idx="18" hasCustomPrompt="1"/>
          </p:nvPr>
        </p:nvSpPr>
        <p:spPr>
          <a:xfrm>
            <a:off x="9021600" y="1371600"/>
            <a:ext cx="2798762" cy="675034"/>
          </a:xfrm>
        </p:spPr>
        <p:txBody>
          <a:bodyPr lIns="180000" tIns="180000" rIns="180000">
            <a:spAutoFit/>
          </a:bodyPr>
          <a:lstStyle>
            <a:lvl1pPr marL="0" indent="0">
              <a:buNone/>
              <a:defRPr sz="1400" b="1">
                <a:solidFill>
                  <a:schemeClr val="tx1"/>
                </a:solidFill>
              </a:defRPr>
            </a:lvl1pPr>
          </a:lstStyle>
          <a:p>
            <a:pPr lvl="0"/>
            <a:r>
              <a:rPr lang="en-US" dirty="0" err="1"/>
              <a:t>Loreum</a:t>
            </a:r>
            <a:r>
              <a:rPr lang="en-US" dirty="0"/>
              <a:t> Ipsum is simply dummy text of the printing</a:t>
            </a:r>
            <a:endParaRPr lang="ar-SA" dirty="0"/>
          </a:p>
        </p:txBody>
      </p:sp>
      <p:sp>
        <p:nvSpPr>
          <p:cNvPr id="126" name="Text Placeholder 9">
            <a:extLst>
              <a:ext uri="{FF2B5EF4-FFF2-40B4-BE49-F238E27FC236}">
                <a16:creationId xmlns:a16="http://schemas.microsoft.com/office/drawing/2014/main" id="{D9BFB04D-F4B5-C84F-831B-70B7AF74C203}"/>
              </a:ext>
            </a:extLst>
          </p:cNvPr>
          <p:cNvSpPr>
            <a:spLocks noGrp="1"/>
          </p:cNvSpPr>
          <p:nvPr>
            <p:ph type="body" sz="quarter" idx="19" hasCustomPrompt="1"/>
          </p:nvPr>
        </p:nvSpPr>
        <p:spPr>
          <a:xfrm>
            <a:off x="9021600" y="2042931"/>
            <a:ext cx="2798762" cy="675034"/>
          </a:xfrm>
        </p:spPr>
        <p:txBody>
          <a:bodyPr lIns="180000" tIns="180000" rIns="180000">
            <a:spAutoFit/>
          </a:bodyPr>
          <a:lstStyle>
            <a:lvl1pPr marL="0" indent="0">
              <a:buNone/>
              <a:defRPr sz="1400" b="0">
                <a:solidFill>
                  <a:schemeClr val="tx2">
                    <a:lumMod val="60000"/>
                    <a:lumOff val="40000"/>
                  </a:schemeClr>
                </a:solidFill>
              </a:defRPr>
            </a:lvl1pPr>
          </a:lstStyle>
          <a:p>
            <a:pPr lvl="0"/>
            <a:r>
              <a:rPr lang="en-US" dirty="0" err="1"/>
              <a:t>Loreum</a:t>
            </a:r>
            <a:r>
              <a:rPr lang="en-US" dirty="0"/>
              <a:t> Ipsum is simply dummy text of the printing</a:t>
            </a:r>
            <a:endParaRPr lang="ar-SA" dirty="0"/>
          </a:p>
        </p:txBody>
      </p:sp>
      <p:sp>
        <p:nvSpPr>
          <p:cNvPr id="127" name="Text Placeholder 5">
            <a:extLst>
              <a:ext uri="{FF2B5EF4-FFF2-40B4-BE49-F238E27FC236}">
                <a16:creationId xmlns:a16="http://schemas.microsoft.com/office/drawing/2014/main" id="{FA74ABBD-1011-6746-A149-88F9FC2B21E7}"/>
              </a:ext>
            </a:extLst>
          </p:cNvPr>
          <p:cNvSpPr>
            <a:spLocks noGrp="1"/>
          </p:cNvSpPr>
          <p:nvPr>
            <p:ph type="body" sz="quarter" idx="20" hasCustomPrompt="1"/>
          </p:nvPr>
        </p:nvSpPr>
        <p:spPr>
          <a:xfrm>
            <a:off x="360000" y="3790800"/>
            <a:ext cx="11448000" cy="356400"/>
          </a:xfrm>
        </p:spPr>
        <p:txBody>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lang="en-US" sz="1600" b="1" smtClean="0">
                <a:solidFill>
                  <a:schemeClr val="tx2">
                    <a:lumMod val="60000"/>
                    <a:lumOff val="40000"/>
                  </a:schemeClr>
                </a:solidFill>
              </a:defRPr>
            </a:lvl1pPr>
          </a:lstStyle>
          <a:p>
            <a:pPr marL="0" marR="0" lvl="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a:pPr>
            <a:r>
              <a:rPr lang="en-US" sz="1600" dirty="0">
                <a:solidFill>
                  <a:schemeClr val="tx2">
                    <a:lumMod val="60000"/>
                    <a:lumOff val="40000"/>
                  </a:schemeClr>
                </a:solidFill>
                <a:latin typeface="+mj-lt"/>
              </a:rPr>
              <a:t>Lorem Ipsum is simply dummy text</a:t>
            </a:r>
          </a:p>
        </p:txBody>
      </p:sp>
      <p:sp>
        <p:nvSpPr>
          <p:cNvPr id="128" name="Rectangle 127">
            <a:extLst>
              <a:ext uri="{FF2B5EF4-FFF2-40B4-BE49-F238E27FC236}">
                <a16:creationId xmlns:a16="http://schemas.microsoft.com/office/drawing/2014/main" id="{19629FED-3342-5740-A917-A6E5EE2A4C75}"/>
              </a:ext>
            </a:extLst>
          </p:cNvPr>
          <p:cNvSpPr/>
          <p:nvPr userDrawn="1"/>
        </p:nvSpPr>
        <p:spPr>
          <a:xfrm>
            <a:off x="360000"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dirty="0"/>
          </a:p>
        </p:txBody>
      </p:sp>
      <p:sp>
        <p:nvSpPr>
          <p:cNvPr id="129" name="Rectangle 128">
            <a:extLst>
              <a:ext uri="{FF2B5EF4-FFF2-40B4-BE49-F238E27FC236}">
                <a16:creationId xmlns:a16="http://schemas.microsoft.com/office/drawing/2014/main" id="{AB40773B-2442-5E44-8066-2202815A3657}"/>
              </a:ext>
            </a:extLst>
          </p:cNvPr>
          <p:cNvSpPr/>
          <p:nvPr userDrawn="1"/>
        </p:nvSpPr>
        <p:spPr>
          <a:xfrm>
            <a:off x="2669149"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30" name="Rectangle 129">
            <a:extLst>
              <a:ext uri="{FF2B5EF4-FFF2-40B4-BE49-F238E27FC236}">
                <a16:creationId xmlns:a16="http://schemas.microsoft.com/office/drawing/2014/main" id="{36B3E149-5829-604A-91C3-1F9F773CE625}"/>
              </a:ext>
            </a:extLst>
          </p:cNvPr>
          <p:cNvSpPr/>
          <p:nvPr userDrawn="1"/>
        </p:nvSpPr>
        <p:spPr>
          <a:xfrm>
            <a:off x="4978298"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31" name="Rectangle 130">
            <a:extLst>
              <a:ext uri="{FF2B5EF4-FFF2-40B4-BE49-F238E27FC236}">
                <a16:creationId xmlns:a16="http://schemas.microsoft.com/office/drawing/2014/main" id="{061CB1E9-E4F1-D240-B5C4-DF94FB4B1565}"/>
              </a:ext>
            </a:extLst>
          </p:cNvPr>
          <p:cNvSpPr/>
          <p:nvPr userDrawn="1"/>
        </p:nvSpPr>
        <p:spPr>
          <a:xfrm>
            <a:off x="7287447"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32" name="Rectangle 131">
            <a:extLst>
              <a:ext uri="{FF2B5EF4-FFF2-40B4-BE49-F238E27FC236}">
                <a16:creationId xmlns:a16="http://schemas.microsoft.com/office/drawing/2014/main" id="{9F002C2F-9AA0-944B-98E7-30BD83CD60E4}"/>
              </a:ext>
            </a:extLst>
          </p:cNvPr>
          <p:cNvSpPr/>
          <p:nvPr userDrawn="1"/>
        </p:nvSpPr>
        <p:spPr>
          <a:xfrm>
            <a:off x="9596596" y="4158000"/>
            <a:ext cx="2232000" cy="2156400"/>
          </a:xfrm>
          <a:prstGeom prst="rect">
            <a:avLst/>
          </a:prstGeom>
          <a:solidFill>
            <a:schemeClr val="bg2"/>
          </a:solidFill>
          <a:ln>
            <a:noFill/>
          </a:ln>
          <a:effectLst>
            <a:innerShdw dist="25400" dir="5400000">
              <a:schemeClr val="accent1"/>
            </a:innerShdw>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ar-SA"/>
          </a:p>
        </p:txBody>
      </p:sp>
      <p:sp>
        <p:nvSpPr>
          <p:cNvPr id="12" name="Text Placeholder 11">
            <a:extLst>
              <a:ext uri="{FF2B5EF4-FFF2-40B4-BE49-F238E27FC236}">
                <a16:creationId xmlns:a16="http://schemas.microsoft.com/office/drawing/2014/main" id="{12C2D8C1-3D58-F740-B3C7-5F789F89A037}"/>
              </a:ext>
            </a:extLst>
          </p:cNvPr>
          <p:cNvSpPr>
            <a:spLocks noGrp="1"/>
          </p:cNvSpPr>
          <p:nvPr>
            <p:ph type="body" sz="quarter" idx="21" hasCustomPrompt="1"/>
          </p:nvPr>
        </p:nvSpPr>
        <p:spPr>
          <a:xfrm>
            <a:off x="360363"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3" name="Text Placeholder 11">
            <a:extLst>
              <a:ext uri="{FF2B5EF4-FFF2-40B4-BE49-F238E27FC236}">
                <a16:creationId xmlns:a16="http://schemas.microsoft.com/office/drawing/2014/main" id="{C46AE0DB-5B19-E243-A9D6-059FA1700802}"/>
              </a:ext>
            </a:extLst>
          </p:cNvPr>
          <p:cNvSpPr>
            <a:spLocks noGrp="1"/>
          </p:cNvSpPr>
          <p:nvPr>
            <p:ph type="body" sz="quarter" idx="22" hasCustomPrompt="1"/>
          </p:nvPr>
        </p:nvSpPr>
        <p:spPr>
          <a:xfrm>
            <a:off x="2669149"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5" name="Text Placeholder 11">
            <a:extLst>
              <a:ext uri="{FF2B5EF4-FFF2-40B4-BE49-F238E27FC236}">
                <a16:creationId xmlns:a16="http://schemas.microsoft.com/office/drawing/2014/main" id="{8EC69248-A315-3B40-AAE8-8F0FCF68F1E8}"/>
              </a:ext>
            </a:extLst>
          </p:cNvPr>
          <p:cNvSpPr>
            <a:spLocks noGrp="1"/>
          </p:cNvSpPr>
          <p:nvPr>
            <p:ph type="body" sz="quarter" idx="23" hasCustomPrompt="1"/>
          </p:nvPr>
        </p:nvSpPr>
        <p:spPr>
          <a:xfrm>
            <a:off x="4978298"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6" name="Text Placeholder 11">
            <a:extLst>
              <a:ext uri="{FF2B5EF4-FFF2-40B4-BE49-F238E27FC236}">
                <a16:creationId xmlns:a16="http://schemas.microsoft.com/office/drawing/2014/main" id="{DF5A8BD2-7DED-BB4F-B872-03977AA24E7E}"/>
              </a:ext>
            </a:extLst>
          </p:cNvPr>
          <p:cNvSpPr>
            <a:spLocks noGrp="1"/>
          </p:cNvSpPr>
          <p:nvPr>
            <p:ph type="body" sz="quarter" idx="24" hasCustomPrompt="1"/>
          </p:nvPr>
        </p:nvSpPr>
        <p:spPr>
          <a:xfrm>
            <a:off x="7287447"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137" name="Text Placeholder 11">
            <a:extLst>
              <a:ext uri="{FF2B5EF4-FFF2-40B4-BE49-F238E27FC236}">
                <a16:creationId xmlns:a16="http://schemas.microsoft.com/office/drawing/2014/main" id="{875E4E58-C95C-C346-8192-7A7A178D9CF7}"/>
              </a:ext>
            </a:extLst>
          </p:cNvPr>
          <p:cNvSpPr>
            <a:spLocks noGrp="1"/>
          </p:cNvSpPr>
          <p:nvPr>
            <p:ph type="body" sz="quarter" idx="25" hasCustomPrompt="1"/>
          </p:nvPr>
        </p:nvSpPr>
        <p:spPr>
          <a:xfrm>
            <a:off x="9596596" y="4146550"/>
            <a:ext cx="2232000" cy="2156400"/>
          </a:xfrm>
        </p:spPr>
        <p:txBody>
          <a:bodyPr lIns="180000" tIns="180000" rIns="180000" bIns="180000">
            <a:normAutofit/>
          </a:bodyPr>
          <a:lstStyle>
            <a:lvl1pPr marL="0" indent="0">
              <a:buNone/>
              <a:defRPr sz="1400"/>
            </a:lvl1pPr>
          </a:lstStyle>
          <a:p>
            <a:pPr>
              <a:spcBef>
                <a:spcPts val="0"/>
              </a:spcBef>
            </a:pPr>
            <a:r>
              <a:rPr lang="en-US" dirty="0">
                <a:solidFill>
                  <a:schemeClr val="tx1"/>
                </a:solidFill>
              </a:rPr>
              <a:t>Lorem Ipsum is simply dummy text of the printing and typesetting industry. Lorem Ipsum has been the industry's standard dummy text ever.</a:t>
            </a:r>
          </a:p>
        </p:txBody>
      </p:sp>
      <p:sp>
        <p:nvSpPr>
          <p:cNvPr id="4" name="Title 3">
            <a:extLst>
              <a:ext uri="{FF2B5EF4-FFF2-40B4-BE49-F238E27FC236}">
                <a16:creationId xmlns:a16="http://schemas.microsoft.com/office/drawing/2014/main" id="{D74DDEAE-A287-8F4B-AEBE-7309AADB902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814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36">
          <p15:clr>
            <a:srgbClr val="FBAE40"/>
          </p15:clr>
        </p15:guide>
        <p15:guide id="2" pos="347">
          <p15:clr>
            <a:srgbClr val="FBAE40"/>
          </p15:clr>
        </p15:guide>
        <p15:guide id="3" orient="horz">
          <p15:clr>
            <a:srgbClr val="FBAE40"/>
          </p15:clr>
        </p15:guide>
        <p15:guide id="4" pos="2184">
          <p15:clr>
            <a:srgbClr val="FBAE40"/>
          </p15:clr>
        </p15:guide>
        <p15:guide id="5" pos="3999">
          <p15:clr>
            <a:srgbClr val="FBAE40"/>
          </p15:clr>
        </p15:guide>
        <p15:guide id="6" pos="5850">
          <p15:clr>
            <a:srgbClr val="FBAE40"/>
          </p15:clr>
        </p15:guide>
        <p15:guide id="7" orient="horz" pos="15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ext 2 Columns with Icons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72800"/>
            <a:ext cx="5634000" cy="2973600"/>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6174784" y="1073150"/>
            <a:ext cx="5658416" cy="2973600"/>
          </a:xfrm>
          <a:solidFill>
            <a:schemeClr val="tx2">
              <a:lumMod val="60000"/>
              <a:lumOff val="40000"/>
              <a:alpha val="20000"/>
            </a:schemeClr>
          </a:solidFill>
        </p:spPr>
        <p:txBody>
          <a:bodyPr vert="horz" lIns="180000" tIns="180000" rIns="180000" bIns="180000" rtlCol="0" anchor="b" anchorCtr="0">
            <a:normAutofit/>
          </a:bodyPr>
          <a:lstStyle>
            <a:lvl1pPr marL="0" indent="0">
              <a:buNone/>
              <a:defRPr lang="en-US" sz="2000" b="1" i="0" dirty="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14" name="Picture Placeholder 4">
            <a:extLst>
              <a:ext uri="{FF2B5EF4-FFF2-40B4-BE49-F238E27FC236}">
                <a16:creationId xmlns:a16="http://schemas.microsoft.com/office/drawing/2014/main" id="{205F40F0-98A0-5E4D-A823-7655379848E1}"/>
              </a:ext>
            </a:extLst>
          </p:cNvPr>
          <p:cNvSpPr>
            <a:spLocks noGrp="1" noChangeAspect="1"/>
          </p:cNvSpPr>
          <p:nvPr>
            <p:ph type="pic" sz="quarter" idx="19" hasCustomPrompt="1"/>
          </p:nvPr>
        </p:nvSpPr>
        <p:spPr>
          <a:xfrm>
            <a:off x="5184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6" name="Picture Placeholder 4">
            <a:extLst>
              <a:ext uri="{FF2B5EF4-FFF2-40B4-BE49-F238E27FC236}">
                <a16:creationId xmlns:a16="http://schemas.microsoft.com/office/drawing/2014/main" id="{D11F383A-55BC-3843-8C8C-94A54DC29F5C}"/>
              </a:ext>
            </a:extLst>
          </p:cNvPr>
          <p:cNvSpPr>
            <a:spLocks noGrp="1" noChangeAspect="1"/>
          </p:cNvSpPr>
          <p:nvPr>
            <p:ph type="pic" sz="quarter" idx="21" hasCustomPrompt="1"/>
          </p:nvPr>
        </p:nvSpPr>
        <p:spPr>
          <a:xfrm>
            <a:off x="6371897"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7" name="Content Placeholder 16">
            <a:extLst>
              <a:ext uri="{FF2B5EF4-FFF2-40B4-BE49-F238E27FC236}">
                <a16:creationId xmlns:a16="http://schemas.microsoft.com/office/drawing/2014/main" id="{38475327-144D-4C42-90E2-5E46AA104B86}"/>
              </a:ext>
            </a:extLst>
          </p:cNvPr>
          <p:cNvSpPr>
            <a:spLocks noGrp="1"/>
          </p:cNvSpPr>
          <p:nvPr>
            <p:ph sz="quarter" idx="22" hasCustomPrompt="1"/>
          </p:nvPr>
        </p:nvSpPr>
        <p:spPr>
          <a:xfrm>
            <a:off x="352425" y="4043680"/>
            <a:ext cx="5634000" cy="2302607"/>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19" name="Content Placeholder 16">
            <a:extLst>
              <a:ext uri="{FF2B5EF4-FFF2-40B4-BE49-F238E27FC236}">
                <a16:creationId xmlns:a16="http://schemas.microsoft.com/office/drawing/2014/main" id="{DD6E88F2-220F-0747-A97D-129C606A84D4}"/>
              </a:ext>
            </a:extLst>
          </p:cNvPr>
          <p:cNvSpPr>
            <a:spLocks noGrp="1"/>
          </p:cNvSpPr>
          <p:nvPr>
            <p:ph sz="quarter" idx="24" hasCustomPrompt="1"/>
          </p:nvPr>
        </p:nvSpPr>
        <p:spPr>
          <a:xfrm>
            <a:off x="6174784" y="4043680"/>
            <a:ext cx="5658416" cy="2302607"/>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4" name="Title 3">
            <a:extLst>
              <a:ext uri="{FF2B5EF4-FFF2-40B4-BE49-F238E27FC236}">
                <a16:creationId xmlns:a16="http://schemas.microsoft.com/office/drawing/2014/main" id="{0089EF6F-2E01-2C47-ACE9-731CDB536A6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788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3 Columns with Icons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1072800"/>
            <a:ext cx="3693600" cy="2973600"/>
          </a:xfrm>
          <a:solidFill>
            <a:schemeClr val="tx2">
              <a:lumMod val="60000"/>
              <a:lumOff val="40000"/>
              <a:alpha val="20000"/>
            </a:schemeClr>
          </a:solidFill>
        </p:spPr>
        <p:txBody>
          <a:bodyPr lIns="180000" tIns="180000" rIns="180000" bIns="180000" anchor="b" anchorCtr="0">
            <a:normAutofit/>
          </a:bodyPr>
          <a:lstStyle>
            <a:lvl1pPr marL="0" indent="0">
              <a:buNone/>
              <a:defRPr sz="2000" b="1" i="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6" name="Text Placeholder 4">
            <a:extLst>
              <a:ext uri="{FF2B5EF4-FFF2-40B4-BE49-F238E27FC236}">
                <a16:creationId xmlns:a16="http://schemas.microsoft.com/office/drawing/2014/main" id="{F5F23DA4-4D19-B744-B1EB-91AECBD4698C}"/>
              </a:ext>
            </a:extLst>
          </p:cNvPr>
          <p:cNvSpPr>
            <a:spLocks noGrp="1"/>
          </p:cNvSpPr>
          <p:nvPr>
            <p:ph type="body" sz="quarter" idx="12" hasCustomPrompt="1"/>
          </p:nvPr>
        </p:nvSpPr>
        <p:spPr>
          <a:xfrm>
            <a:off x="4248000" y="1073150"/>
            <a:ext cx="3693600" cy="2973600"/>
          </a:xfrm>
          <a:solidFill>
            <a:schemeClr val="tx2">
              <a:lumMod val="60000"/>
              <a:lumOff val="40000"/>
              <a:alpha val="20000"/>
            </a:schemeClr>
          </a:solidFill>
        </p:spPr>
        <p:txBody>
          <a:bodyPr vert="horz" lIns="180000" tIns="180000" rIns="180000" bIns="180000" rtlCol="0" anchor="b" anchorCtr="0">
            <a:normAutofit/>
          </a:bodyPr>
          <a:lstStyle>
            <a:lvl1pPr marL="0" indent="0">
              <a:buNone/>
              <a:defRPr lang="en-US" sz="2000" b="1" i="0" dirty="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7" name="Text Placeholder 4">
            <a:extLst>
              <a:ext uri="{FF2B5EF4-FFF2-40B4-BE49-F238E27FC236}">
                <a16:creationId xmlns:a16="http://schemas.microsoft.com/office/drawing/2014/main" id="{8B4CFD78-B65D-D24D-98D0-EE2E57275F60}"/>
              </a:ext>
            </a:extLst>
          </p:cNvPr>
          <p:cNvSpPr>
            <a:spLocks noGrp="1"/>
          </p:cNvSpPr>
          <p:nvPr>
            <p:ph type="body" sz="quarter" idx="13" hasCustomPrompt="1"/>
          </p:nvPr>
        </p:nvSpPr>
        <p:spPr>
          <a:xfrm>
            <a:off x="8139600" y="1073150"/>
            <a:ext cx="3693600" cy="2973600"/>
          </a:xfrm>
          <a:solidFill>
            <a:schemeClr val="tx2">
              <a:lumMod val="60000"/>
              <a:lumOff val="40000"/>
              <a:alpha val="20000"/>
            </a:schemeClr>
          </a:solidFill>
        </p:spPr>
        <p:txBody>
          <a:bodyPr vert="horz" lIns="180000" tIns="180000" rIns="180000" bIns="180000" rtlCol="0" anchor="b" anchorCtr="0">
            <a:normAutofit/>
          </a:bodyPr>
          <a:lstStyle>
            <a:lvl1pPr marL="0" indent="0">
              <a:buNone/>
              <a:defRPr lang="en-US" sz="2000" b="1" i="0" dirty="0">
                <a:latin typeface="Arial Black" panose="020B0604020202020204" pitchFamily="34" charset="0"/>
                <a:cs typeface="Arial Black" panose="020B0604020202020204" pitchFamily="34" charset="0"/>
              </a:defRPr>
            </a:lvl1pPr>
          </a:lstStyle>
          <a:p>
            <a:r>
              <a:rPr lang="en-US" dirty="0"/>
              <a:t>What is </a:t>
            </a:r>
            <a:r>
              <a:rPr lang="en-US" dirty="0" err="1"/>
              <a:t>Loreum</a:t>
            </a:r>
            <a:r>
              <a:rPr lang="en-US" dirty="0"/>
              <a:t> Ipsum</a:t>
            </a:r>
          </a:p>
        </p:txBody>
      </p:sp>
      <p:sp>
        <p:nvSpPr>
          <p:cNvPr id="14" name="Picture Placeholder 4">
            <a:extLst>
              <a:ext uri="{FF2B5EF4-FFF2-40B4-BE49-F238E27FC236}">
                <a16:creationId xmlns:a16="http://schemas.microsoft.com/office/drawing/2014/main" id="{205F40F0-98A0-5E4D-A823-7655379848E1}"/>
              </a:ext>
            </a:extLst>
          </p:cNvPr>
          <p:cNvSpPr>
            <a:spLocks noGrp="1" noChangeAspect="1"/>
          </p:cNvSpPr>
          <p:nvPr>
            <p:ph type="pic" sz="quarter" idx="19" hasCustomPrompt="1"/>
          </p:nvPr>
        </p:nvSpPr>
        <p:spPr>
          <a:xfrm>
            <a:off x="5184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5" name="Picture Placeholder 4">
            <a:extLst>
              <a:ext uri="{FF2B5EF4-FFF2-40B4-BE49-F238E27FC236}">
                <a16:creationId xmlns:a16="http://schemas.microsoft.com/office/drawing/2014/main" id="{B4D149CC-9B47-F244-9FB2-B6EC14B2BBE3}"/>
              </a:ext>
            </a:extLst>
          </p:cNvPr>
          <p:cNvSpPr>
            <a:spLocks noGrp="1" noChangeAspect="1"/>
          </p:cNvSpPr>
          <p:nvPr>
            <p:ph type="pic" sz="quarter" idx="20" hasCustomPrompt="1"/>
          </p:nvPr>
        </p:nvSpPr>
        <p:spPr>
          <a:xfrm>
            <a:off x="44196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6" name="Picture Placeholder 4">
            <a:extLst>
              <a:ext uri="{FF2B5EF4-FFF2-40B4-BE49-F238E27FC236}">
                <a16:creationId xmlns:a16="http://schemas.microsoft.com/office/drawing/2014/main" id="{D11F383A-55BC-3843-8C8C-94A54DC29F5C}"/>
              </a:ext>
            </a:extLst>
          </p:cNvPr>
          <p:cNvSpPr>
            <a:spLocks noGrp="1" noChangeAspect="1"/>
          </p:cNvSpPr>
          <p:nvPr>
            <p:ph type="pic" sz="quarter" idx="21" hasCustomPrompt="1"/>
          </p:nvPr>
        </p:nvSpPr>
        <p:spPr>
          <a:xfrm>
            <a:off x="8305800" y="1800000"/>
            <a:ext cx="1440000" cy="1440000"/>
          </a:xfrm>
        </p:spPr>
        <p:txBody>
          <a:bodyPr anchor="ctr" anchorCtr="0"/>
          <a:lstStyle>
            <a:lvl1pPr>
              <a:defRPr>
                <a:solidFill>
                  <a:schemeClr val="tx1"/>
                </a:solidFill>
              </a:defRPr>
            </a:lvl1pPr>
          </a:lstStyle>
          <a:p>
            <a:r>
              <a:rPr lang="en-US" dirty="0"/>
              <a:t>Icon</a:t>
            </a:r>
            <a:endParaRPr lang="ar-SA" dirty="0"/>
          </a:p>
        </p:txBody>
      </p:sp>
      <p:sp>
        <p:nvSpPr>
          <p:cNvPr id="17" name="Content Placeholder 16">
            <a:extLst>
              <a:ext uri="{FF2B5EF4-FFF2-40B4-BE49-F238E27FC236}">
                <a16:creationId xmlns:a16="http://schemas.microsoft.com/office/drawing/2014/main" id="{38475327-144D-4C42-90E2-5E46AA104B86}"/>
              </a:ext>
            </a:extLst>
          </p:cNvPr>
          <p:cNvSpPr>
            <a:spLocks noGrp="1"/>
          </p:cNvSpPr>
          <p:nvPr>
            <p:ph sz="quarter" idx="22" hasCustomPrompt="1"/>
          </p:nvPr>
        </p:nvSpPr>
        <p:spPr>
          <a:xfrm>
            <a:off x="352425" y="4043680"/>
            <a:ext cx="3693600" cy="2302607"/>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18" name="Content Placeholder 16">
            <a:extLst>
              <a:ext uri="{FF2B5EF4-FFF2-40B4-BE49-F238E27FC236}">
                <a16:creationId xmlns:a16="http://schemas.microsoft.com/office/drawing/2014/main" id="{68832328-58AD-FB4A-B32F-BB3C3ED1D61B}"/>
              </a:ext>
            </a:extLst>
          </p:cNvPr>
          <p:cNvSpPr>
            <a:spLocks noGrp="1"/>
          </p:cNvSpPr>
          <p:nvPr>
            <p:ph sz="quarter" idx="23" hasCustomPrompt="1"/>
          </p:nvPr>
        </p:nvSpPr>
        <p:spPr>
          <a:xfrm>
            <a:off x="4248000" y="4043680"/>
            <a:ext cx="3693600" cy="2302607"/>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19" name="Content Placeholder 16">
            <a:extLst>
              <a:ext uri="{FF2B5EF4-FFF2-40B4-BE49-F238E27FC236}">
                <a16:creationId xmlns:a16="http://schemas.microsoft.com/office/drawing/2014/main" id="{DD6E88F2-220F-0747-A97D-129C606A84D4}"/>
              </a:ext>
            </a:extLst>
          </p:cNvPr>
          <p:cNvSpPr>
            <a:spLocks noGrp="1"/>
          </p:cNvSpPr>
          <p:nvPr>
            <p:ph sz="quarter" idx="24" hasCustomPrompt="1"/>
          </p:nvPr>
        </p:nvSpPr>
        <p:spPr>
          <a:xfrm>
            <a:off x="8139600" y="4043680"/>
            <a:ext cx="3693600" cy="2302607"/>
          </a:xfrm>
          <a:solidFill>
            <a:schemeClr val="bg2"/>
          </a:solidFill>
        </p:spPr>
        <p:txBody>
          <a:bodyPr lIns="180000" tIns="180000" rIns="180000" bIns="180000">
            <a:normAutofit/>
          </a:bodyPr>
          <a:lstStyle>
            <a:lvl1pPr marL="0" indent="0" rtl="0" latinLnBrk="0">
              <a:buNone/>
              <a:defRPr sz="1400">
                <a:solidFill>
                  <a:schemeClr val="tx1"/>
                </a:solidFill>
              </a:defRPr>
            </a:lvl1pPr>
          </a:lstStyle>
          <a:p>
            <a:pPr rtl="0" latinLnBrk="0"/>
            <a:r>
              <a:rPr lang="en-GB" dirty="0" err="1"/>
              <a:t>Loreum</a:t>
            </a:r>
            <a:r>
              <a:rPr lang="en-GB" dirty="0"/>
              <a:t> Ipsum is simply dummy text of the printing and typesetting industry.</a:t>
            </a:r>
          </a:p>
          <a:p>
            <a:pPr rtl="0" latinLnBrk="0"/>
            <a:r>
              <a:rPr lang="en-GB" dirty="0" err="1"/>
              <a:t>Loreum</a:t>
            </a:r>
            <a:r>
              <a:rPr lang="en-GB" dirty="0"/>
              <a:t> Ipsum has been the industry’s standard dummy text ever since the 1500s, when an unknown printer took a galley of type and scrambled it.</a:t>
            </a:r>
            <a:endParaRPr lang="ar-SA" dirty="0"/>
          </a:p>
        </p:txBody>
      </p:sp>
      <p:sp>
        <p:nvSpPr>
          <p:cNvPr id="4" name="Title 3">
            <a:extLst>
              <a:ext uri="{FF2B5EF4-FFF2-40B4-BE49-F238E27FC236}">
                <a16:creationId xmlns:a16="http://schemas.microsoft.com/office/drawing/2014/main" id="{0089EF6F-2E01-2C47-ACE9-731CDB536A6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727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Column with Photo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C331CBB-A728-0B4C-AF8D-8EFE584D0892}"/>
              </a:ext>
            </a:extLst>
          </p:cNvPr>
          <p:cNvSpPr>
            <a:spLocks noGrp="1"/>
          </p:cNvSpPr>
          <p:nvPr>
            <p:ph type="pic" sz="quarter" idx="15"/>
          </p:nvPr>
        </p:nvSpPr>
        <p:spPr>
          <a:xfrm>
            <a:off x="360000" y="1073150"/>
            <a:ext cx="2736000" cy="2319338"/>
          </a:xfrm>
        </p:spPr>
        <p:txBody>
          <a:bodyPr/>
          <a:lstStyle/>
          <a:p>
            <a:r>
              <a:rPr lang="en-US" dirty="0"/>
              <a:t>Click icon to add picture</a:t>
            </a:r>
            <a:endParaRPr lang="ar-SA" dirty="0"/>
          </a:p>
        </p:txBody>
      </p:sp>
      <p:sp>
        <p:nvSpPr>
          <p:cNvPr id="18" name="Picture Placeholder 5">
            <a:extLst>
              <a:ext uri="{FF2B5EF4-FFF2-40B4-BE49-F238E27FC236}">
                <a16:creationId xmlns:a16="http://schemas.microsoft.com/office/drawing/2014/main" id="{532C754E-6952-4448-AFF5-38921539862B}"/>
              </a:ext>
            </a:extLst>
          </p:cNvPr>
          <p:cNvSpPr>
            <a:spLocks noGrp="1"/>
          </p:cNvSpPr>
          <p:nvPr>
            <p:ph type="pic" sz="quarter" idx="16"/>
          </p:nvPr>
        </p:nvSpPr>
        <p:spPr>
          <a:xfrm>
            <a:off x="3272400" y="1072800"/>
            <a:ext cx="2736000" cy="2319338"/>
          </a:xfrm>
        </p:spPr>
        <p:txBody>
          <a:bodyPr/>
          <a:lstStyle/>
          <a:p>
            <a:r>
              <a:rPr lang="en-US" dirty="0"/>
              <a:t>Click icon to add picture</a:t>
            </a:r>
            <a:endParaRPr lang="ar-SA" dirty="0"/>
          </a:p>
        </p:txBody>
      </p:sp>
      <p:sp>
        <p:nvSpPr>
          <p:cNvPr id="19" name="Picture Placeholder 5">
            <a:extLst>
              <a:ext uri="{FF2B5EF4-FFF2-40B4-BE49-F238E27FC236}">
                <a16:creationId xmlns:a16="http://schemas.microsoft.com/office/drawing/2014/main" id="{B22B0BA8-60E3-4845-A444-F63245CA0A09}"/>
              </a:ext>
            </a:extLst>
          </p:cNvPr>
          <p:cNvSpPr>
            <a:spLocks noGrp="1"/>
          </p:cNvSpPr>
          <p:nvPr>
            <p:ph type="pic" sz="quarter" idx="17"/>
          </p:nvPr>
        </p:nvSpPr>
        <p:spPr>
          <a:xfrm>
            <a:off x="6184800" y="1072800"/>
            <a:ext cx="2736000" cy="2319338"/>
          </a:xfrm>
        </p:spPr>
        <p:txBody>
          <a:bodyPr/>
          <a:lstStyle/>
          <a:p>
            <a:r>
              <a:rPr lang="en-US" dirty="0"/>
              <a:t>Click icon to add picture</a:t>
            </a:r>
            <a:endParaRPr lang="ar-SA" dirty="0"/>
          </a:p>
        </p:txBody>
      </p:sp>
      <p:sp>
        <p:nvSpPr>
          <p:cNvPr id="20" name="Picture Placeholder 5">
            <a:extLst>
              <a:ext uri="{FF2B5EF4-FFF2-40B4-BE49-F238E27FC236}">
                <a16:creationId xmlns:a16="http://schemas.microsoft.com/office/drawing/2014/main" id="{C36D606F-ACBA-8B4D-A4A1-D0D9DCB2320B}"/>
              </a:ext>
            </a:extLst>
          </p:cNvPr>
          <p:cNvSpPr>
            <a:spLocks noGrp="1"/>
          </p:cNvSpPr>
          <p:nvPr>
            <p:ph type="pic" sz="quarter" idx="18"/>
          </p:nvPr>
        </p:nvSpPr>
        <p:spPr>
          <a:xfrm>
            <a:off x="9093600" y="1072800"/>
            <a:ext cx="2736000" cy="2319338"/>
          </a:xfrm>
        </p:spPr>
        <p:txBody>
          <a:bodyPr/>
          <a:lstStyle/>
          <a:p>
            <a:r>
              <a:rPr lang="en-US" dirty="0"/>
              <a:t>Click icon to add picture</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5" name="Text Placeholder 4">
            <a:extLst>
              <a:ext uri="{FF2B5EF4-FFF2-40B4-BE49-F238E27FC236}">
                <a16:creationId xmlns:a16="http://schemas.microsoft.com/office/drawing/2014/main" id="{675A7A74-35AE-A441-8E5F-0D7FBA31C6D4}"/>
              </a:ext>
            </a:extLst>
          </p:cNvPr>
          <p:cNvSpPr>
            <a:spLocks noGrp="1"/>
          </p:cNvSpPr>
          <p:nvPr>
            <p:ph type="body" sz="quarter" idx="11" hasCustomPrompt="1"/>
          </p:nvPr>
        </p:nvSpPr>
        <p:spPr>
          <a:xfrm>
            <a:off x="3600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1" name="Text Placeholder 4">
            <a:extLst>
              <a:ext uri="{FF2B5EF4-FFF2-40B4-BE49-F238E27FC236}">
                <a16:creationId xmlns:a16="http://schemas.microsoft.com/office/drawing/2014/main" id="{582712A1-BA48-D248-92B3-1C204F8C708A}"/>
              </a:ext>
            </a:extLst>
          </p:cNvPr>
          <p:cNvSpPr>
            <a:spLocks noGrp="1"/>
          </p:cNvSpPr>
          <p:nvPr>
            <p:ph type="body" sz="quarter" idx="12" hasCustomPrompt="1"/>
          </p:nvPr>
        </p:nvSpPr>
        <p:spPr>
          <a:xfrm>
            <a:off x="32724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2" name="Text Placeholder 4">
            <a:extLst>
              <a:ext uri="{FF2B5EF4-FFF2-40B4-BE49-F238E27FC236}">
                <a16:creationId xmlns:a16="http://schemas.microsoft.com/office/drawing/2014/main" id="{EC58281E-D983-0A4C-A59B-3618E7C00AF6}"/>
              </a:ext>
            </a:extLst>
          </p:cNvPr>
          <p:cNvSpPr>
            <a:spLocks noGrp="1"/>
          </p:cNvSpPr>
          <p:nvPr>
            <p:ph type="body" sz="quarter" idx="13" hasCustomPrompt="1"/>
          </p:nvPr>
        </p:nvSpPr>
        <p:spPr>
          <a:xfrm>
            <a:off x="61848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13" name="Text Placeholder 4">
            <a:extLst>
              <a:ext uri="{FF2B5EF4-FFF2-40B4-BE49-F238E27FC236}">
                <a16:creationId xmlns:a16="http://schemas.microsoft.com/office/drawing/2014/main" id="{927FDE60-62D3-8247-84CA-F8C9065D70FF}"/>
              </a:ext>
            </a:extLst>
          </p:cNvPr>
          <p:cNvSpPr>
            <a:spLocks noGrp="1"/>
          </p:cNvSpPr>
          <p:nvPr>
            <p:ph type="body" sz="quarter" idx="14" hasCustomPrompt="1"/>
          </p:nvPr>
        </p:nvSpPr>
        <p:spPr>
          <a:xfrm>
            <a:off x="9093600" y="3391200"/>
            <a:ext cx="2736000" cy="2916000"/>
          </a:xfrm>
          <a:solidFill>
            <a:schemeClr val="bg2"/>
          </a:solidFill>
        </p:spPr>
        <p:txBody>
          <a:bodyPr lIns="180000" tIns="180000" rIns="180000" bIns="180000">
            <a:normAutofit/>
          </a:bodyPr>
          <a:lstStyle>
            <a:lvl1pPr>
              <a:defRPr sz="1400">
                <a:solidFill>
                  <a:schemeClr val="tx1"/>
                </a:solidFill>
                <a:latin typeface="+mj-lt"/>
              </a:defRPr>
            </a:lvl1pPr>
          </a:lstStyle>
          <a:p>
            <a:r>
              <a:rPr lang="en-US" dirty="0"/>
              <a:t>Lorem Ipsum is simply dummy text of the printing and typesetting industry. </a:t>
            </a:r>
          </a:p>
          <a:p>
            <a:r>
              <a:rPr lang="en-US" dirty="0"/>
              <a:t>Lorem Ipsum has been the industry's standard dummy text ever.</a:t>
            </a:r>
          </a:p>
        </p:txBody>
      </p:sp>
      <p:sp>
        <p:nvSpPr>
          <p:cNvPr id="4" name="Title 3">
            <a:extLst>
              <a:ext uri="{FF2B5EF4-FFF2-40B4-BE49-F238E27FC236}">
                <a16:creationId xmlns:a16="http://schemas.microsoft.com/office/drawing/2014/main" id="{69068ADB-5D84-244A-99A5-3CC21A3D5E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374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5 Column with Photo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4" name="Title 3">
            <a:extLst>
              <a:ext uri="{FF2B5EF4-FFF2-40B4-BE49-F238E27FC236}">
                <a16:creationId xmlns:a16="http://schemas.microsoft.com/office/drawing/2014/main" id="{69068ADB-5D84-244A-99A5-3CC21A3D5E9F}"/>
              </a:ext>
            </a:extLst>
          </p:cNvPr>
          <p:cNvSpPr>
            <a:spLocks noGrp="1"/>
          </p:cNvSpPr>
          <p:nvPr>
            <p:ph type="title"/>
          </p:nvPr>
        </p:nvSpPr>
        <p:spPr/>
        <p:txBody>
          <a:bodyPr/>
          <a:lstStyle/>
          <a:p>
            <a:r>
              <a:rPr lang="en-US"/>
              <a:t>Click to edit Master title style</a:t>
            </a:r>
          </a:p>
        </p:txBody>
      </p:sp>
      <p:sp>
        <p:nvSpPr>
          <p:cNvPr id="14" name="Picture Placeholder 12">
            <a:extLst>
              <a:ext uri="{FF2B5EF4-FFF2-40B4-BE49-F238E27FC236}">
                <a16:creationId xmlns:a16="http://schemas.microsoft.com/office/drawing/2014/main" id="{CAB4A85D-E872-47BE-B0A7-FEAB8E883773}"/>
              </a:ext>
            </a:extLst>
          </p:cNvPr>
          <p:cNvSpPr>
            <a:spLocks noGrp="1"/>
          </p:cNvSpPr>
          <p:nvPr>
            <p:ph type="pic" sz="quarter" idx="15"/>
          </p:nvPr>
        </p:nvSpPr>
        <p:spPr>
          <a:xfrm>
            <a:off x="360000" y="1080000"/>
            <a:ext cx="2249424" cy="2312488"/>
          </a:xfrm>
          <a:prstGeom prst="rect">
            <a:avLst/>
          </a:prstGeom>
        </p:spPr>
        <p:txBody>
          <a:bodyPr/>
          <a:lstStyle/>
          <a:p>
            <a:r>
              <a:rPr lang="en-US" dirty="0"/>
              <a:t>Click icon to add picture</a:t>
            </a:r>
          </a:p>
        </p:txBody>
      </p:sp>
      <p:sp>
        <p:nvSpPr>
          <p:cNvPr id="15" name="Text Placeholder 16">
            <a:extLst>
              <a:ext uri="{FF2B5EF4-FFF2-40B4-BE49-F238E27FC236}">
                <a16:creationId xmlns:a16="http://schemas.microsoft.com/office/drawing/2014/main" id="{CFF479A5-57DF-4C4A-9435-31C6A89FEA58}"/>
              </a:ext>
            </a:extLst>
          </p:cNvPr>
          <p:cNvSpPr>
            <a:spLocks noGrp="1"/>
          </p:cNvSpPr>
          <p:nvPr>
            <p:ph type="body" sz="quarter" idx="16" hasCustomPrompt="1"/>
          </p:nvPr>
        </p:nvSpPr>
        <p:spPr>
          <a:xfrm>
            <a:off x="352425" y="3392488"/>
            <a:ext cx="2249488" cy="2665412"/>
          </a:xfrm>
          <a:prstGeom prst="rect">
            <a:avLst/>
          </a:prstGeom>
          <a:solidFill>
            <a:srgbClr val="FFFFFF"/>
          </a:solidFill>
        </p:spPr>
        <p:txBody>
          <a:bodyPr lIns="108000" tIns="108000" rIns="108000" bIns="108000"/>
          <a:lstStyle>
            <a:lvl1pPr>
              <a:spcBef>
                <a:spcPts val="500"/>
              </a:spcBef>
              <a:defRPr>
                <a:solidFill>
                  <a:schemeClr val="tx1"/>
                </a:solidFill>
              </a:defRPr>
            </a:lvl1pPr>
            <a:lvl2pPr marL="649287" indent="-285750">
              <a:spcBef>
                <a:spcPts val="500"/>
              </a:spcBef>
              <a:defRPr lang="en-US" sz="1600" kern="1200" baseline="0" dirty="0">
                <a:solidFill>
                  <a:schemeClr val="tx1"/>
                </a:solidFill>
                <a:latin typeface="+mn-lt"/>
                <a:ea typeface="+mn-ea"/>
                <a:cs typeface="+mn-cs"/>
              </a:defRPr>
            </a:lvl2pPr>
          </a:lstStyle>
          <a:p>
            <a:pPr lvl="0"/>
            <a:r>
              <a:rPr lang="en-US" dirty="0"/>
              <a:t>Click to edit text</a:t>
            </a:r>
          </a:p>
        </p:txBody>
      </p:sp>
      <p:sp>
        <p:nvSpPr>
          <p:cNvPr id="16" name="Picture Placeholder 12">
            <a:extLst>
              <a:ext uri="{FF2B5EF4-FFF2-40B4-BE49-F238E27FC236}">
                <a16:creationId xmlns:a16="http://schemas.microsoft.com/office/drawing/2014/main" id="{0376D41A-F40F-43D1-91E0-83776D8F0A1C}"/>
              </a:ext>
            </a:extLst>
          </p:cNvPr>
          <p:cNvSpPr>
            <a:spLocks noGrp="1"/>
          </p:cNvSpPr>
          <p:nvPr>
            <p:ph type="pic" sz="quarter" idx="17"/>
          </p:nvPr>
        </p:nvSpPr>
        <p:spPr>
          <a:xfrm>
            <a:off x="2664150" y="1080000"/>
            <a:ext cx="2249424" cy="2312488"/>
          </a:xfrm>
          <a:prstGeom prst="rect">
            <a:avLst/>
          </a:prstGeom>
        </p:spPr>
        <p:txBody>
          <a:bodyPr/>
          <a:lstStyle/>
          <a:p>
            <a:r>
              <a:rPr lang="en-US" dirty="0"/>
              <a:t>Click icon to add picture</a:t>
            </a:r>
          </a:p>
        </p:txBody>
      </p:sp>
      <p:sp>
        <p:nvSpPr>
          <p:cNvPr id="17" name="Text Placeholder 16">
            <a:extLst>
              <a:ext uri="{FF2B5EF4-FFF2-40B4-BE49-F238E27FC236}">
                <a16:creationId xmlns:a16="http://schemas.microsoft.com/office/drawing/2014/main" id="{00F29EBB-B37E-452F-BAB2-5A3594245E68}"/>
              </a:ext>
            </a:extLst>
          </p:cNvPr>
          <p:cNvSpPr>
            <a:spLocks noGrp="1"/>
          </p:cNvSpPr>
          <p:nvPr>
            <p:ph type="body" sz="quarter" idx="18" hasCustomPrompt="1"/>
          </p:nvPr>
        </p:nvSpPr>
        <p:spPr>
          <a:xfrm>
            <a:off x="2659580" y="3392488"/>
            <a:ext cx="2249488" cy="2665412"/>
          </a:xfrm>
          <a:prstGeom prst="rect">
            <a:avLst/>
          </a:prstGeom>
          <a:solidFill>
            <a:srgbClr val="FFFFFF"/>
          </a:solidFill>
        </p:spPr>
        <p:txBody>
          <a:bodyPr lIns="108000" tIns="108000" rIns="108000" bIns="108000"/>
          <a:lstStyle>
            <a:lvl1pPr>
              <a:spcBef>
                <a:spcPts val="500"/>
              </a:spcBef>
              <a:defRPr>
                <a:solidFill>
                  <a:schemeClr val="tx1"/>
                </a:solidFill>
              </a:defRPr>
            </a:lvl1pPr>
            <a:lvl2pPr marL="649287" indent="-285750">
              <a:spcBef>
                <a:spcPts val="500"/>
              </a:spcBef>
              <a:defRPr lang="en-US" sz="1600" kern="1200" baseline="0" dirty="0">
                <a:solidFill>
                  <a:schemeClr val="tx1"/>
                </a:solidFill>
                <a:latin typeface="+mn-lt"/>
                <a:ea typeface="+mn-ea"/>
                <a:cs typeface="+mn-cs"/>
              </a:defRPr>
            </a:lvl2pPr>
          </a:lstStyle>
          <a:p>
            <a:pPr lvl="0"/>
            <a:r>
              <a:rPr lang="en-US" dirty="0"/>
              <a:t>Click to edit text</a:t>
            </a:r>
          </a:p>
        </p:txBody>
      </p:sp>
      <p:sp>
        <p:nvSpPr>
          <p:cNvPr id="21" name="Picture Placeholder 12">
            <a:extLst>
              <a:ext uri="{FF2B5EF4-FFF2-40B4-BE49-F238E27FC236}">
                <a16:creationId xmlns:a16="http://schemas.microsoft.com/office/drawing/2014/main" id="{49418952-28BE-4A85-B2AE-05B65F48D5CA}"/>
              </a:ext>
            </a:extLst>
          </p:cNvPr>
          <p:cNvSpPr>
            <a:spLocks noGrp="1"/>
          </p:cNvSpPr>
          <p:nvPr>
            <p:ph type="pic" sz="quarter" idx="19"/>
          </p:nvPr>
        </p:nvSpPr>
        <p:spPr>
          <a:xfrm>
            <a:off x="4968300" y="1080000"/>
            <a:ext cx="2249424" cy="2312488"/>
          </a:xfrm>
          <a:prstGeom prst="rect">
            <a:avLst/>
          </a:prstGeom>
        </p:spPr>
        <p:txBody>
          <a:bodyPr/>
          <a:lstStyle/>
          <a:p>
            <a:r>
              <a:rPr lang="en-US" dirty="0"/>
              <a:t>Click icon to add picture</a:t>
            </a:r>
          </a:p>
        </p:txBody>
      </p:sp>
      <p:sp>
        <p:nvSpPr>
          <p:cNvPr id="22" name="Text Placeholder 16">
            <a:extLst>
              <a:ext uri="{FF2B5EF4-FFF2-40B4-BE49-F238E27FC236}">
                <a16:creationId xmlns:a16="http://schemas.microsoft.com/office/drawing/2014/main" id="{65A79ED1-3381-4187-A469-86E2A40F4DFB}"/>
              </a:ext>
            </a:extLst>
          </p:cNvPr>
          <p:cNvSpPr>
            <a:spLocks noGrp="1"/>
          </p:cNvSpPr>
          <p:nvPr>
            <p:ph type="body" sz="quarter" idx="20" hasCustomPrompt="1"/>
          </p:nvPr>
        </p:nvSpPr>
        <p:spPr>
          <a:xfrm>
            <a:off x="4966735" y="3392488"/>
            <a:ext cx="2249488" cy="2665412"/>
          </a:xfrm>
          <a:prstGeom prst="rect">
            <a:avLst/>
          </a:prstGeom>
          <a:solidFill>
            <a:srgbClr val="FFFFFF"/>
          </a:solidFill>
        </p:spPr>
        <p:txBody>
          <a:bodyPr lIns="108000" tIns="108000" rIns="108000" bIns="108000"/>
          <a:lstStyle>
            <a:lvl1pPr>
              <a:spcBef>
                <a:spcPts val="500"/>
              </a:spcBef>
              <a:defRPr>
                <a:solidFill>
                  <a:schemeClr val="tx1"/>
                </a:solidFill>
              </a:defRPr>
            </a:lvl1pPr>
            <a:lvl2pPr marL="649287" indent="-285750">
              <a:spcBef>
                <a:spcPts val="500"/>
              </a:spcBef>
              <a:defRPr lang="en-US" sz="1600" kern="1200" baseline="0" dirty="0">
                <a:solidFill>
                  <a:schemeClr val="tx1"/>
                </a:solidFill>
                <a:latin typeface="+mn-lt"/>
                <a:ea typeface="+mn-ea"/>
                <a:cs typeface="+mn-cs"/>
              </a:defRPr>
            </a:lvl2pPr>
          </a:lstStyle>
          <a:p>
            <a:pPr lvl="0"/>
            <a:r>
              <a:rPr lang="en-US" dirty="0"/>
              <a:t>Click to edit text</a:t>
            </a:r>
          </a:p>
        </p:txBody>
      </p:sp>
      <p:sp>
        <p:nvSpPr>
          <p:cNvPr id="23" name="Picture Placeholder 12">
            <a:extLst>
              <a:ext uri="{FF2B5EF4-FFF2-40B4-BE49-F238E27FC236}">
                <a16:creationId xmlns:a16="http://schemas.microsoft.com/office/drawing/2014/main" id="{3B56DAC8-C8AD-4F7D-8776-801A1D89D3AA}"/>
              </a:ext>
            </a:extLst>
          </p:cNvPr>
          <p:cNvSpPr>
            <a:spLocks noGrp="1"/>
          </p:cNvSpPr>
          <p:nvPr>
            <p:ph type="pic" sz="quarter" idx="21"/>
          </p:nvPr>
        </p:nvSpPr>
        <p:spPr>
          <a:xfrm>
            <a:off x="7272450" y="1080000"/>
            <a:ext cx="2249424" cy="2312488"/>
          </a:xfrm>
          <a:prstGeom prst="rect">
            <a:avLst/>
          </a:prstGeom>
        </p:spPr>
        <p:txBody>
          <a:bodyPr/>
          <a:lstStyle/>
          <a:p>
            <a:r>
              <a:rPr lang="en-US" dirty="0"/>
              <a:t>Click icon to add picture</a:t>
            </a:r>
          </a:p>
        </p:txBody>
      </p:sp>
      <p:sp>
        <p:nvSpPr>
          <p:cNvPr id="24" name="Text Placeholder 16">
            <a:extLst>
              <a:ext uri="{FF2B5EF4-FFF2-40B4-BE49-F238E27FC236}">
                <a16:creationId xmlns:a16="http://schemas.microsoft.com/office/drawing/2014/main" id="{3B9DC250-C09B-4D8A-BE79-80F8EC7055CE}"/>
              </a:ext>
            </a:extLst>
          </p:cNvPr>
          <p:cNvSpPr>
            <a:spLocks noGrp="1"/>
          </p:cNvSpPr>
          <p:nvPr>
            <p:ph type="body" sz="quarter" idx="22" hasCustomPrompt="1"/>
          </p:nvPr>
        </p:nvSpPr>
        <p:spPr>
          <a:xfrm>
            <a:off x="7273890" y="3392488"/>
            <a:ext cx="2249488" cy="2665412"/>
          </a:xfrm>
          <a:prstGeom prst="rect">
            <a:avLst/>
          </a:prstGeom>
          <a:solidFill>
            <a:srgbClr val="FFFFFF"/>
          </a:solidFill>
        </p:spPr>
        <p:txBody>
          <a:bodyPr lIns="108000" tIns="108000" rIns="108000" bIns="108000"/>
          <a:lstStyle>
            <a:lvl1pPr>
              <a:spcBef>
                <a:spcPts val="500"/>
              </a:spcBef>
              <a:defRPr>
                <a:solidFill>
                  <a:schemeClr val="tx1"/>
                </a:solidFill>
              </a:defRPr>
            </a:lvl1pPr>
            <a:lvl2pPr marL="649287" indent="-285750">
              <a:spcBef>
                <a:spcPts val="500"/>
              </a:spcBef>
              <a:defRPr lang="en-US" sz="1600" kern="1200" baseline="0" dirty="0">
                <a:solidFill>
                  <a:schemeClr val="tx1"/>
                </a:solidFill>
                <a:latin typeface="+mn-lt"/>
                <a:ea typeface="+mn-ea"/>
                <a:cs typeface="+mn-cs"/>
              </a:defRPr>
            </a:lvl2pPr>
          </a:lstStyle>
          <a:p>
            <a:pPr lvl="0"/>
            <a:r>
              <a:rPr lang="en-US" dirty="0"/>
              <a:t>Click to edit text</a:t>
            </a:r>
          </a:p>
        </p:txBody>
      </p:sp>
      <p:sp>
        <p:nvSpPr>
          <p:cNvPr id="25" name="Picture Placeholder 12">
            <a:extLst>
              <a:ext uri="{FF2B5EF4-FFF2-40B4-BE49-F238E27FC236}">
                <a16:creationId xmlns:a16="http://schemas.microsoft.com/office/drawing/2014/main" id="{A367E66E-B803-4BE8-AA1B-1CE4C1E8D0E7}"/>
              </a:ext>
            </a:extLst>
          </p:cNvPr>
          <p:cNvSpPr>
            <a:spLocks noGrp="1"/>
          </p:cNvSpPr>
          <p:nvPr>
            <p:ph type="pic" sz="quarter" idx="23"/>
          </p:nvPr>
        </p:nvSpPr>
        <p:spPr>
          <a:xfrm>
            <a:off x="9576601" y="1080000"/>
            <a:ext cx="2249424" cy="2312488"/>
          </a:xfrm>
          <a:prstGeom prst="rect">
            <a:avLst/>
          </a:prstGeom>
        </p:spPr>
        <p:txBody>
          <a:bodyPr/>
          <a:lstStyle/>
          <a:p>
            <a:r>
              <a:rPr lang="en-US" dirty="0"/>
              <a:t>Click icon to add picture</a:t>
            </a:r>
          </a:p>
        </p:txBody>
      </p:sp>
      <p:sp>
        <p:nvSpPr>
          <p:cNvPr id="26" name="Text Placeholder 16">
            <a:extLst>
              <a:ext uri="{FF2B5EF4-FFF2-40B4-BE49-F238E27FC236}">
                <a16:creationId xmlns:a16="http://schemas.microsoft.com/office/drawing/2014/main" id="{8A6ABBA3-CE23-42FB-995B-B74B99A93918}"/>
              </a:ext>
            </a:extLst>
          </p:cNvPr>
          <p:cNvSpPr>
            <a:spLocks noGrp="1"/>
          </p:cNvSpPr>
          <p:nvPr>
            <p:ph type="body" sz="quarter" idx="24" hasCustomPrompt="1"/>
          </p:nvPr>
        </p:nvSpPr>
        <p:spPr>
          <a:xfrm>
            <a:off x="9581046" y="3392488"/>
            <a:ext cx="2249488" cy="2665412"/>
          </a:xfrm>
          <a:prstGeom prst="rect">
            <a:avLst/>
          </a:prstGeom>
          <a:solidFill>
            <a:srgbClr val="FFFFFF"/>
          </a:solidFill>
        </p:spPr>
        <p:txBody>
          <a:bodyPr lIns="108000" tIns="108000" rIns="108000" bIns="108000"/>
          <a:lstStyle>
            <a:lvl1pPr>
              <a:spcBef>
                <a:spcPts val="500"/>
              </a:spcBef>
              <a:defRPr>
                <a:solidFill>
                  <a:schemeClr val="tx1"/>
                </a:solidFill>
              </a:defRPr>
            </a:lvl1pPr>
            <a:lvl2pPr marL="649287" indent="-285750">
              <a:spcBef>
                <a:spcPts val="500"/>
              </a:spcBef>
              <a:defRPr lang="en-US" sz="1600" kern="1200" baseline="0" dirty="0">
                <a:solidFill>
                  <a:schemeClr val="tx1"/>
                </a:solidFill>
                <a:latin typeface="+mn-lt"/>
                <a:ea typeface="+mn-ea"/>
                <a:cs typeface="+mn-cs"/>
              </a:defRPr>
            </a:lvl2pPr>
          </a:lstStyle>
          <a:p>
            <a:pPr lvl="0"/>
            <a:r>
              <a:rPr lang="en-US" dirty="0"/>
              <a:t>Click to edit text</a:t>
            </a:r>
          </a:p>
        </p:txBody>
      </p:sp>
    </p:spTree>
    <p:extLst>
      <p:ext uri="{BB962C8B-B14F-4D97-AF65-F5344CB8AC3E}">
        <p14:creationId xmlns:p14="http://schemas.microsoft.com/office/powerpoint/2010/main" val="205277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5 Column with Photo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4" name="Title 3">
            <a:extLst>
              <a:ext uri="{FF2B5EF4-FFF2-40B4-BE49-F238E27FC236}">
                <a16:creationId xmlns:a16="http://schemas.microsoft.com/office/drawing/2014/main" id="{69068ADB-5D84-244A-99A5-3CC21A3D5E9F}"/>
              </a:ext>
            </a:extLst>
          </p:cNvPr>
          <p:cNvSpPr>
            <a:spLocks noGrp="1"/>
          </p:cNvSpPr>
          <p:nvPr>
            <p:ph type="title"/>
          </p:nvPr>
        </p:nvSpPr>
        <p:spPr/>
        <p:txBody>
          <a:bodyPr/>
          <a:lstStyle/>
          <a:p>
            <a:r>
              <a:rPr lang="en-US"/>
              <a:t>Click to edit Master title style</a:t>
            </a:r>
          </a:p>
        </p:txBody>
      </p:sp>
      <p:sp>
        <p:nvSpPr>
          <p:cNvPr id="18" name="Content Placeholder 15">
            <a:extLst>
              <a:ext uri="{FF2B5EF4-FFF2-40B4-BE49-F238E27FC236}">
                <a16:creationId xmlns:a16="http://schemas.microsoft.com/office/drawing/2014/main" id="{3F8CC1C4-394F-4389-BD0E-9405B18FB590}"/>
              </a:ext>
            </a:extLst>
          </p:cNvPr>
          <p:cNvSpPr>
            <a:spLocks noGrp="1"/>
          </p:cNvSpPr>
          <p:nvPr>
            <p:ph sz="half" idx="1"/>
          </p:nvPr>
        </p:nvSpPr>
        <p:spPr>
          <a:xfrm>
            <a:off x="360000" y="1080000"/>
            <a:ext cx="2145600" cy="4257899"/>
          </a:xfrm>
        </p:spPr>
        <p:txBody>
          <a:bodyPr/>
          <a:lstStyle/>
          <a:p>
            <a:pPr lvl="0"/>
            <a:r>
              <a:rPr lang="en-US"/>
              <a:t>Click to edit Master text styles</a:t>
            </a:r>
          </a:p>
        </p:txBody>
      </p:sp>
      <p:sp>
        <p:nvSpPr>
          <p:cNvPr id="19" name="Content Placeholder 16">
            <a:extLst>
              <a:ext uri="{FF2B5EF4-FFF2-40B4-BE49-F238E27FC236}">
                <a16:creationId xmlns:a16="http://schemas.microsoft.com/office/drawing/2014/main" id="{8578D87C-9F0E-44C4-ADBE-BD36DF571862}"/>
              </a:ext>
            </a:extLst>
          </p:cNvPr>
          <p:cNvSpPr>
            <a:spLocks noGrp="1"/>
          </p:cNvSpPr>
          <p:nvPr>
            <p:ph sz="half" idx="2"/>
          </p:nvPr>
        </p:nvSpPr>
        <p:spPr>
          <a:xfrm>
            <a:off x="2691031" y="1080000"/>
            <a:ext cx="2145600" cy="4257899"/>
          </a:xfrm>
        </p:spPr>
        <p:txBody>
          <a:bodyPr/>
          <a:lstStyle/>
          <a:p>
            <a:pPr lvl="0"/>
            <a:r>
              <a:rPr lang="en-US"/>
              <a:t>Click to edit Master text styles</a:t>
            </a:r>
          </a:p>
        </p:txBody>
      </p:sp>
      <p:sp>
        <p:nvSpPr>
          <p:cNvPr id="20" name="Content Placeholder 17">
            <a:extLst>
              <a:ext uri="{FF2B5EF4-FFF2-40B4-BE49-F238E27FC236}">
                <a16:creationId xmlns:a16="http://schemas.microsoft.com/office/drawing/2014/main" id="{B3EF1D24-B215-45F2-9571-72C28D425B02}"/>
              </a:ext>
            </a:extLst>
          </p:cNvPr>
          <p:cNvSpPr>
            <a:spLocks noGrp="1"/>
          </p:cNvSpPr>
          <p:nvPr>
            <p:ph sz="half" idx="11"/>
          </p:nvPr>
        </p:nvSpPr>
        <p:spPr>
          <a:xfrm>
            <a:off x="7353093" y="1080000"/>
            <a:ext cx="2145600" cy="4257899"/>
          </a:xfrm>
        </p:spPr>
        <p:txBody>
          <a:bodyPr/>
          <a:lstStyle/>
          <a:p>
            <a:pPr lvl="0"/>
            <a:r>
              <a:rPr lang="en-US"/>
              <a:t>Click to edit Master text styles</a:t>
            </a:r>
          </a:p>
        </p:txBody>
      </p:sp>
      <p:sp>
        <p:nvSpPr>
          <p:cNvPr id="27" name="Content Placeholder 18">
            <a:extLst>
              <a:ext uri="{FF2B5EF4-FFF2-40B4-BE49-F238E27FC236}">
                <a16:creationId xmlns:a16="http://schemas.microsoft.com/office/drawing/2014/main" id="{5028D600-0BF6-4594-B519-24699AB8AE72}"/>
              </a:ext>
            </a:extLst>
          </p:cNvPr>
          <p:cNvSpPr>
            <a:spLocks noGrp="1"/>
          </p:cNvSpPr>
          <p:nvPr>
            <p:ph sz="half" idx="12"/>
          </p:nvPr>
        </p:nvSpPr>
        <p:spPr>
          <a:xfrm>
            <a:off x="5022062" y="1080000"/>
            <a:ext cx="2145600" cy="4257899"/>
          </a:xfrm>
        </p:spPr>
        <p:txBody>
          <a:bodyPr/>
          <a:lstStyle/>
          <a:p>
            <a:pPr lvl="0"/>
            <a:r>
              <a:rPr lang="en-US"/>
              <a:t>Click to edit Master text styles</a:t>
            </a:r>
          </a:p>
        </p:txBody>
      </p:sp>
      <p:sp>
        <p:nvSpPr>
          <p:cNvPr id="28" name="Content Placeholder 20">
            <a:extLst>
              <a:ext uri="{FF2B5EF4-FFF2-40B4-BE49-F238E27FC236}">
                <a16:creationId xmlns:a16="http://schemas.microsoft.com/office/drawing/2014/main" id="{47967573-DD7A-474A-AD9B-C0891124AFBD}"/>
              </a:ext>
            </a:extLst>
          </p:cNvPr>
          <p:cNvSpPr>
            <a:spLocks noGrp="1"/>
          </p:cNvSpPr>
          <p:nvPr>
            <p:ph sz="half" idx="18"/>
          </p:nvPr>
        </p:nvSpPr>
        <p:spPr>
          <a:xfrm>
            <a:off x="9684126" y="1080000"/>
            <a:ext cx="2145600" cy="4257899"/>
          </a:xfrm>
        </p:spPr>
        <p:txBody>
          <a:bodyPr/>
          <a:lstStyle/>
          <a:p>
            <a:pPr lvl="0"/>
            <a:r>
              <a:rPr lang="en-US"/>
              <a:t>Click to edit Master text styles</a:t>
            </a:r>
          </a:p>
        </p:txBody>
      </p:sp>
      <p:sp>
        <p:nvSpPr>
          <p:cNvPr id="29" name="Text Placeholder 19">
            <a:extLst>
              <a:ext uri="{FF2B5EF4-FFF2-40B4-BE49-F238E27FC236}">
                <a16:creationId xmlns:a16="http://schemas.microsoft.com/office/drawing/2014/main" id="{87401D54-C532-45A9-8070-5899A159BBB9}"/>
              </a:ext>
            </a:extLst>
          </p:cNvPr>
          <p:cNvSpPr>
            <a:spLocks noGrp="1"/>
          </p:cNvSpPr>
          <p:nvPr>
            <p:ph type="body" sz="quarter" idx="16"/>
          </p:nvPr>
        </p:nvSpPr>
        <p:spPr>
          <a:xfrm>
            <a:off x="360364" y="5337899"/>
            <a:ext cx="2145600" cy="970825"/>
          </a:xfrm>
        </p:spPr>
        <p:txBody>
          <a:bodyPr/>
          <a:lstStyle/>
          <a:p>
            <a:pPr lvl="0"/>
            <a:r>
              <a:rPr lang="en-US"/>
              <a:t>Click to edit Master text styles</a:t>
            </a:r>
          </a:p>
        </p:txBody>
      </p:sp>
      <p:sp>
        <p:nvSpPr>
          <p:cNvPr id="30" name="Text Placeholder 21">
            <a:extLst>
              <a:ext uri="{FF2B5EF4-FFF2-40B4-BE49-F238E27FC236}">
                <a16:creationId xmlns:a16="http://schemas.microsoft.com/office/drawing/2014/main" id="{91BF5382-94ED-4608-BDAB-B404B6F50583}"/>
              </a:ext>
            </a:extLst>
          </p:cNvPr>
          <p:cNvSpPr>
            <a:spLocks noGrp="1"/>
          </p:cNvSpPr>
          <p:nvPr>
            <p:ph type="body" sz="quarter" idx="19"/>
          </p:nvPr>
        </p:nvSpPr>
        <p:spPr>
          <a:xfrm>
            <a:off x="2691304" y="5337899"/>
            <a:ext cx="2145600" cy="970825"/>
          </a:xfrm>
        </p:spPr>
        <p:txBody>
          <a:bodyPr/>
          <a:lstStyle/>
          <a:p>
            <a:pPr lvl="0"/>
            <a:r>
              <a:rPr lang="en-US"/>
              <a:t>Click to edit Master text styles</a:t>
            </a:r>
          </a:p>
        </p:txBody>
      </p:sp>
      <p:sp>
        <p:nvSpPr>
          <p:cNvPr id="31" name="Text Placeholder 22">
            <a:extLst>
              <a:ext uri="{FF2B5EF4-FFF2-40B4-BE49-F238E27FC236}">
                <a16:creationId xmlns:a16="http://schemas.microsoft.com/office/drawing/2014/main" id="{2C729D52-E0EF-4AC1-A4AA-D66F51F532C8}"/>
              </a:ext>
            </a:extLst>
          </p:cNvPr>
          <p:cNvSpPr>
            <a:spLocks noGrp="1"/>
          </p:cNvSpPr>
          <p:nvPr>
            <p:ph type="body" sz="quarter" idx="20"/>
          </p:nvPr>
        </p:nvSpPr>
        <p:spPr>
          <a:xfrm>
            <a:off x="5022244" y="5337899"/>
            <a:ext cx="2145600" cy="970825"/>
          </a:xfrm>
        </p:spPr>
        <p:txBody>
          <a:bodyPr/>
          <a:lstStyle/>
          <a:p>
            <a:pPr lvl="0"/>
            <a:r>
              <a:rPr lang="en-US"/>
              <a:t>Click to edit Master text styles</a:t>
            </a:r>
          </a:p>
        </p:txBody>
      </p:sp>
      <p:sp>
        <p:nvSpPr>
          <p:cNvPr id="32" name="Text Placeholder 23">
            <a:extLst>
              <a:ext uri="{FF2B5EF4-FFF2-40B4-BE49-F238E27FC236}">
                <a16:creationId xmlns:a16="http://schemas.microsoft.com/office/drawing/2014/main" id="{824C8362-0D2A-462D-8334-CDD1A4584AEE}"/>
              </a:ext>
            </a:extLst>
          </p:cNvPr>
          <p:cNvSpPr>
            <a:spLocks noGrp="1"/>
          </p:cNvSpPr>
          <p:nvPr>
            <p:ph type="body" sz="quarter" idx="21"/>
          </p:nvPr>
        </p:nvSpPr>
        <p:spPr>
          <a:xfrm>
            <a:off x="7353184" y="5337899"/>
            <a:ext cx="2145600" cy="970825"/>
          </a:xfrm>
        </p:spPr>
        <p:txBody>
          <a:bodyPr/>
          <a:lstStyle/>
          <a:p>
            <a:pPr lvl="0"/>
            <a:r>
              <a:rPr lang="en-US"/>
              <a:t>Click to edit Master text styles</a:t>
            </a:r>
          </a:p>
        </p:txBody>
      </p:sp>
      <p:sp>
        <p:nvSpPr>
          <p:cNvPr id="33" name="Text Placeholder 24">
            <a:extLst>
              <a:ext uri="{FF2B5EF4-FFF2-40B4-BE49-F238E27FC236}">
                <a16:creationId xmlns:a16="http://schemas.microsoft.com/office/drawing/2014/main" id="{600E8849-701F-4A14-A038-3E98052B7F16}"/>
              </a:ext>
            </a:extLst>
          </p:cNvPr>
          <p:cNvSpPr>
            <a:spLocks noGrp="1"/>
          </p:cNvSpPr>
          <p:nvPr>
            <p:ph type="body" sz="quarter" idx="22"/>
          </p:nvPr>
        </p:nvSpPr>
        <p:spPr>
          <a:xfrm>
            <a:off x="9684126" y="5337899"/>
            <a:ext cx="2145600" cy="970825"/>
          </a:xfrm>
        </p:spPr>
        <p:txBody>
          <a:bodyPr/>
          <a:lstStyle/>
          <a:p>
            <a:pPr lvl="0"/>
            <a:r>
              <a:rPr lang="en-US"/>
              <a:t>Click to edit Master text styles</a:t>
            </a:r>
          </a:p>
        </p:txBody>
      </p:sp>
    </p:spTree>
    <p:extLst>
      <p:ext uri="{BB962C8B-B14F-4D97-AF65-F5344CB8AC3E}">
        <p14:creationId xmlns:p14="http://schemas.microsoft.com/office/powerpoint/2010/main" val="416747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 Column with Photo and Caption">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B4EDC37A-41B5-614C-AF68-D5D47F2A88C7}"/>
              </a:ext>
            </a:extLst>
          </p:cNvPr>
          <p:cNvSpPr>
            <a:spLocks noGrp="1"/>
          </p:cNvSpPr>
          <p:nvPr>
            <p:ph type="pic" sz="quarter" idx="21"/>
          </p:nvPr>
        </p:nvSpPr>
        <p:spPr>
          <a:xfrm>
            <a:off x="6076829" y="0"/>
            <a:ext cx="6115171" cy="6858000"/>
          </a:xfrm>
          <a:noFill/>
        </p:spPr>
        <p:txBody>
          <a:bodyPr/>
          <a:lstStyle/>
          <a:p>
            <a:r>
              <a:rPr lang="en-US" dirty="0"/>
              <a:t>Click icon to add picture</a:t>
            </a:r>
            <a:endParaRPr lang="ar-SA" dirty="0"/>
          </a:p>
        </p:txBody>
      </p:sp>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1" y="0"/>
            <a:ext cx="6098400" cy="6858000"/>
          </a:xfrm>
          <a:noFill/>
        </p:spPr>
        <p:txBody>
          <a:bodyPr/>
          <a:lstStyle/>
          <a:p>
            <a:r>
              <a:rPr lang="en-US" dirty="0"/>
              <a:t>Click icon to add picture</a:t>
            </a:r>
            <a:endParaRPr lang="ar-SA" dirty="0"/>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1"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16" name="Text Placeholder 5">
            <a:extLst>
              <a:ext uri="{FF2B5EF4-FFF2-40B4-BE49-F238E27FC236}">
                <a16:creationId xmlns:a16="http://schemas.microsoft.com/office/drawing/2014/main" id="{3E9B6557-6948-834A-BCCB-D4726CC1756A}"/>
              </a:ext>
            </a:extLst>
          </p:cNvPr>
          <p:cNvSpPr>
            <a:spLocks noGrp="1"/>
          </p:cNvSpPr>
          <p:nvPr>
            <p:ph type="body" sz="quarter" idx="22" hasCustomPrompt="1"/>
          </p:nvPr>
        </p:nvSpPr>
        <p:spPr>
          <a:xfrm>
            <a:off x="6093763"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20" name="Text Placeholder 12">
            <a:extLst>
              <a:ext uri="{FF2B5EF4-FFF2-40B4-BE49-F238E27FC236}">
                <a16:creationId xmlns:a16="http://schemas.microsoft.com/office/drawing/2014/main" id="{590F9B0F-1992-1640-9ACD-6C539910D802}"/>
              </a:ext>
            </a:extLst>
          </p:cNvPr>
          <p:cNvSpPr>
            <a:spLocks noGrp="1"/>
          </p:cNvSpPr>
          <p:nvPr>
            <p:ph type="body" sz="quarter" idx="23" hasCustomPrompt="1"/>
          </p:nvPr>
        </p:nvSpPr>
        <p:spPr>
          <a:xfrm>
            <a:off x="6093763"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Tree>
    <p:extLst>
      <p:ext uri="{BB962C8B-B14F-4D97-AF65-F5344CB8AC3E}">
        <p14:creationId xmlns:p14="http://schemas.microsoft.com/office/powerpoint/2010/main" val="2575563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Column with Photo and Caption">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D8B557EA-0B79-4942-876B-68821DFBF817}"/>
              </a:ext>
            </a:extLst>
          </p:cNvPr>
          <p:cNvSpPr>
            <a:spLocks noGrp="1"/>
          </p:cNvSpPr>
          <p:nvPr>
            <p:ph type="pic" sz="quarter" idx="27"/>
          </p:nvPr>
        </p:nvSpPr>
        <p:spPr>
          <a:xfrm>
            <a:off x="8128800" y="0"/>
            <a:ext cx="4063200" cy="6858000"/>
          </a:xfrm>
          <a:noFill/>
        </p:spPr>
        <p:txBody>
          <a:bodyPr/>
          <a:lstStyle/>
          <a:p>
            <a:r>
              <a:rPr lang="en-US" dirty="0"/>
              <a:t>Click icon to add picture</a:t>
            </a:r>
            <a:endParaRPr lang="ar-SA" dirty="0"/>
          </a:p>
        </p:txBody>
      </p:sp>
      <p:sp>
        <p:nvSpPr>
          <p:cNvPr id="15" name="Picture Placeholder 4">
            <a:extLst>
              <a:ext uri="{FF2B5EF4-FFF2-40B4-BE49-F238E27FC236}">
                <a16:creationId xmlns:a16="http://schemas.microsoft.com/office/drawing/2014/main" id="{B4EDC37A-41B5-614C-AF68-D5D47F2A88C7}"/>
              </a:ext>
            </a:extLst>
          </p:cNvPr>
          <p:cNvSpPr>
            <a:spLocks noGrp="1"/>
          </p:cNvSpPr>
          <p:nvPr>
            <p:ph type="pic" sz="quarter" idx="21"/>
          </p:nvPr>
        </p:nvSpPr>
        <p:spPr>
          <a:xfrm>
            <a:off x="4064400" y="0"/>
            <a:ext cx="4068000" cy="6858000"/>
          </a:xfrm>
          <a:noFill/>
        </p:spPr>
        <p:txBody>
          <a:bodyPr/>
          <a:lstStyle/>
          <a:p>
            <a:r>
              <a:rPr lang="en-US" dirty="0"/>
              <a:t>Click icon to add picture</a:t>
            </a:r>
            <a:endParaRPr lang="ar-SA" dirty="0"/>
          </a:p>
        </p:txBody>
      </p:sp>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1" y="0"/>
            <a:ext cx="4068000" cy="6858000"/>
          </a:xfrm>
          <a:noFill/>
        </p:spPr>
        <p:txBody>
          <a:bodyPr/>
          <a:lstStyle/>
          <a:p>
            <a:r>
              <a:rPr lang="en-US" dirty="0"/>
              <a:t>Click icon to add picture</a:t>
            </a:r>
            <a:endParaRPr lang="ar-SA" dirty="0"/>
          </a:p>
        </p:txBody>
      </p:sp>
      <p:sp>
        <p:nvSpPr>
          <p:cNvPr id="6" name="Text Placeholder 5">
            <a:extLst>
              <a:ext uri="{FF2B5EF4-FFF2-40B4-BE49-F238E27FC236}">
                <a16:creationId xmlns:a16="http://schemas.microsoft.com/office/drawing/2014/main" id="{0F26B072-16E8-FB43-84ED-7BDAD391B113}"/>
              </a:ext>
            </a:extLst>
          </p:cNvPr>
          <p:cNvSpPr>
            <a:spLocks noGrp="1"/>
          </p:cNvSpPr>
          <p:nvPr>
            <p:ph type="body" sz="quarter" idx="11" hasCustomPrompt="1"/>
          </p:nvPr>
        </p:nvSpPr>
        <p:spPr>
          <a:xfrm>
            <a:off x="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13" name="Text Placeholder 12">
            <a:extLst>
              <a:ext uri="{FF2B5EF4-FFF2-40B4-BE49-F238E27FC236}">
                <a16:creationId xmlns:a16="http://schemas.microsoft.com/office/drawing/2014/main" id="{6AD9E7A2-9DE4-F346-9F9A-F967F575E5E9}"/>
              </a:ext>
            </a:extLst>
          </p:cNvPr>
          <p:cNvSpPr>
            <a:spLocks noGrp="1"/>
          </p:cNvSpPr>
          <p:nvPr>
            <p:ph type="body" sz="quarter" idx="14" hasCustomPrompt="1"/>
          </p:nvPr>
        </p:nvSpPr>
        <p:spPr>
          <a:xfrm>
            <a:off x="-1"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16" name="Text Placeholder 5">
            <a:extLst>
              <a:ext uri="{FF2B5EF4-FFF2-40B4-BE49-F238E27FC236}">
                <a16:creationId xmlns:a16="http://schemas.microsoft.com/office/drawing/2014/main" id="{3E9B6557-6948-834A-BCCB-D4726CC1756A}"/>
              </a:ext>
            </a:extLst>
          </p:cNvPr>
          <p:cNvSpPr>
            <a:spLocks noGrp="1"/>
          </p:cNvSpPr>
          <p:nvPr>
            <p:ph type="body" sz="quarter" idx="22" hasCustomPrompt="1"/>
          </p:nvPr>
        </p:nvSpPr>
        <p:spPr>
          <a:xfrm>
            <a:off x="406440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20" name="Text Placeholder 12">
            <a:extLst>
              <a:ext uri="{FF2B5EF4-FFF2-40B4-BE49-F238E27FC236}">
                <a16:creationId xmlns:a16="http://schemas.microsoft.com/office/drawing/2014/main" id="{590F9B0F-1992-1640-9ACD-6C539910D802}"/>
              </a:ext>
            </a:extLst>
          </p:cNvPr>
          <p:cNvSpPr>
            <a:spLocks noGrp="1"/>
          </p:cNvSpPr>
          <p:nvPr>
            <p:ph type="body" sz="quarter" idx="23" hasCustomPrompt="1"/>
          </p:nvPr>
        </p:nvSpPr>
        <p:spPr>
          <a:xfrm>
            <a:off x="4064400"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9" name="Text Placeholder 5">
            <a:extLst>
              <a:ext uri="{FF2B5EF4-FFF2-40B4-BE49-F238E27FC236}">
                <a16:creationId xmlns:a16="http://schemas.microsoft.com/office/drawing/2014/main" id="{B6090B47-AF42-8F45-A644-605A8E035840}"/>
              </a:ext>
            </a:extLst>
          </p:cNvPr>
          <p:cNvSpPr>
            <a:spLocks noGrp="1"/>
          </p:cNvSpPr>
          <p:nvPr>
            <p:ph type="body" sz="quarter" idx="25" hasCustomPrompt="1"/>
          </p:nvPr>
        </p:nvSpPr>
        <p:spPr>
          <a:xfrm>
            <a:off x="8128800" y="3423600"/>
            <a:ext cx="3711600" cy="730800"/>
          </a:xfrm>
          <a:solidFill>
            <a:schemeClr val="bg2">
              <a:lumMod val="95000"/>
            </a:schemeClr>
          </a:solidFill>
          <a:effectLst/>
        </p:spPr>
        <p:txBody>
          <a:bodyPr lIns="360000" tIns="180000" rIns="180000" bIns="180000">
            <a:noAutofit/>
          </a:bodyPr>
          <a:lstStyle>
            <a:lvl1pPr marL="0" indent="0">
              <a:buNone/>
              <a:defRPr sz="2400" b="1" i="0" spc="-150">
                <a:solidFill>
                  <a:schemeClr val="tx1"/>
                </a:solidFill>
                <a:latin typeface="Arial Black" panose="020B0604020202020204" pitchFamily="34" charset="0"/>
                <a:cs typeface="Arial Black" panose="020B0604020202020204" pitchFamily="34" charset="0"/>
              </a:defRPr>
            </a:lvl1pPr>
            <a:lvl2pPr marL="3600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GB" dirty="0"/>
              <a:t>Picture Caption</a:t>
            </a:r>
            <a:endParaRPr lang="ar-SA" dirty="0"/>
          </a:p>
        </p:txBody>
      </p:sp>
      <p:sp>
        <p:nvSpPr>
          <p:cNvPr id="10" name="Text Placeholder 12">
            <a:extLst>
              <a:ext uri="{FF2B5EF4-FFF2-40B4-BE49-F238E27FC236}">
                <a16:creationId xmlns:a16="http://schemas.microsoft.com/office/drawing/2014/main" id="{9DE67643-6932-5943-9DAD-C9C2F05433EB}"/>
              </a:ext>
            </a:extLst>
          </p:cNvPr>
          <p:cNvSpPr>
            <a:spLocks noGrp="1"/>
          </p:cNvSpPr>
          <p:nvPr>
            <p:ph type="body" sz="quarter" idx="26" hasCustomPrompt="1"/>
          </p:nvPr>
        </p:nvSpPr>
        <p:spPr>
          <a:xfrm>
            <a:off x="8128800" y="4154400"/>
            <a:ext cx="3711600" cy="2156400"/>
          </a:xfrm>
          <a:solidFill>
            <a:schemeClr val="bg2"/>
          </a:solidFill>
        </p:spPr>
        <p:txBody>
          <a:bodyPr lIns="360000" tIns="180000" rIns="180000" bIns="180000">
            <a:normAutofit/>
          </a:bodyPr>
          <a:lstStyle>
            <a:lvl1pPr marL="0" indent="0">
              <a:buNone/>
              <a:defRPr sz="1400">
                <a:solidFill>
                  <a:schemeClr val="tx2">
                    <a:lumMod val="60000"/>
                    <a:lumOff val="40000"/>
                  </a:schemeClr>
                </a:solidFill>
              </a:defRPr>
            </a:lvl1pPr>
          </a:lstStyle>
          <a:p>
            <a:pPr lvl="0"/>
            <a:r>
              <a:rPr lang="en-US" dirty="0"/>
              <a:t>Optional Subtitle</a:t>
            </a:r>
            <a:endParaRPr lang="ar-SA" dirty="0"/>
          </a:p>
        </p:txBody>
      </p:sp>
      <p:sp>
        <p:nvSpPr>
          <p:cNvPr id="2" name="Slide Number Placeholder 1">
            <a:extLst>
              <a:ext uri="{FF2B5EF4-FFF2-40B4-BE49-F238E27FC236}">
                <a16:creationId xmlns:a16="http://schemas.microsoft.com/office/drawing/2014/main" id="{FE1A0309-D42D-3A46-86C2-44C69252D08D}"/>
              </a:ext>
            </a:extLst>
          </p:cNvPr>
          <p:cNvSpPr>
            <a:spLocks noGrp="1"/>
          </p:cNvSpPr>
          <p:nvPr>
            <p:ph type="sldNum" sz="quarter" idx="28"/>
          </p:nvPr>
        </p:nvSpPr>
        <p:spPr/>
        <p:txBody>
          <a:bodyPr/>
          <a:lstStyle/>
          <a:p>
            <a:fld id="{9A0F7689-66CB-EC4F-9B5C-9C3D3ED1F24F}" type="slidenum">
              <a:rPr lang="en-US" smtClean="0"/>
              <a:pPr/>
              <a:t>‹#›</a:t>
            </a:fld>
            <a:endParaRPr lang="en-US" dirty="0"/>
          </a:p>
        </p:txBody>
      </p:sp>
    </p:spTree>
    <p:extLst>
      <p:ext uri="{BB962C8B-B14F-4D97-AF65-F5344CB8AC3E}">
        <p14:creationId xmlns:p14="http://schemas.microsoft.com/office/powerpoint/2010/main" val="719483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6 Boxes with Photos">
    <p:spTree>
      <p:nvGrpSpPr>
        <p:cNvPr id="1" name=""/>
        <p:cNvGrpSpPr/>
        <p:nvPr/>
      </p:nvGrpSpPr>
      <p:grpSpPr>
        <a:xfrm>
          <a:off x="0" y="0"/>
          <a:ext cx="0" cy="0"/>
          <a:chOff x="0" y="0"/>
          <a:chExt cx="0" cy="0"/>
        </a:xfrm>
      </p:grpSpPr>
      <p:sp>
        <p:nvSpPr>
          <p:cNvPr id="16" name="Picture Placeholder 5">
            <a:extLst>
              <a:ext uri="{FF2B5EF4-FFF2-40B4-BE49-F238E27FC236}">
                <a16:creationId xmlns:a16="http://schemas.microsoft.com/office/drawing/2014/main" id="{6B7AD24E-4B75-524B-B14A-E19560872B8F}"/>
              </a:ext>
            </a:extLst>
          </p:cNvPr>
          <p:cNvSpPr>
            <a:spLocks noGrp="1"/>
          </p:cNvSpPr>
          <p:nvPr>
            <p:ph type="pic" sz="quarter" idx="18"/>
          </p:nvPr>
        </p:nvSpPr>
        <p:spPr>
          <a:xfrm>
            <a:off x="0" y="3412067"/>
            <a:ext cx="4050000" cy="3430800"/>
          </a:xfrm>
        </p:spPr>
        <p:txBody>
          <a:bodyPr/>
          <a:lstStyle/>
          <a:p>
            <a:r>
              <a:rPr lang="en-US" dirty="0"/>
              <a:t>Click icon to add picture</a:t>
            </a:r>
            <a:endParaRPr lang="ar-SA" dirty="0"/>
          </a:p>
        </p:txBody>
      </p:sp>
      <p:sp>
        <p:nvSpPr>
          <p:cNvPr id="17" name="Picture Placeholder 5">
            <a:extLst>
              <a:ext uri="{FF2B5EF4-FFF2-40B4-BE49-F238E27FC236}">
                <a16:creationId xmlns:a16="http://schemas.microsoft.com/office/drawing/2014/main" id="{85766859-2DFF-E149-A67F-2CE6451E3513}"/>
              </a:ext>
            </a:extLst>
          </p:cNvPr>
          <p:cNvSpPr>
            <a:spLocks noGrp="1"/>
          </p:cNvSpPr>
          <p:nvPr>
            <p:ph type="pic" sz="quarter" idx="19"/>
          </p:nvPr>
        </p:nvSpPr>
        <p:spPr>
          <a:xfrm>
            <a:off x="4045601" y="3412067"/>
            <a:ext cx="4050000" cy="3430800"/>
          </a:xfrm>
        </p:spPr>
        <p:txBody>
          <a:bodyPr/>
          <a:lstStyle/>
          <a:p>
            <a:r>
              <a:rPr lang="en-US" dirty="0"/>
              <a:t>Click icon to add picture</a:t>
            </a:r>
            <a:endParaRPr lang="ar-SA" dirty="0"/>
          </a:p>
        </p:txBody>
      </p:sp>
      <p:sp>
        <p:nvSpPr>
          <p:cNvPr id="21" name="Picture Placeholder 5">
            <a:extLst>
              <a:ext uri="{FF2B5EF4-FFF2-40B4-BE49-F238E27FC236}">
                <a16:creationId xmlns:a16="http://schemas.microsoft.com/office/drawing/2014/main" id="{D9CEF993-6F87-814A-8699-1C7D1BFD0D64}"/>
              </a:ext>
            </a:extLst>
          </p:cNvPr>
          <p:cNvSpPr>
            <a:spLocks noGrp="1"/>
          </p:cNvSpPr>
          <p:nvPr>
            <p:ph type="pic" sz="quarter" idx="20"/>
          </p:nvPr>
        </p:nvSpPr>
        <p:spPr>
          <a:xfrm>
            <a:off x="8091201" y="3412067"/>
            <a:ext cx="4092898" cy="3430800"/>
          </a:xfrm>
        </p:spPr>
        <p:txBody>
          <a:bodyPr/>
          <a:lstStyle/>
          <a:p>
            <a:r>
              <a:rPr lang="en-US" dirty="0"/>
              <a:t>Click icon to add picture</a:t>
            </a:r>
            <a:endParaRPr lang="ar-SA" dirty="0"/>
          </a:p>
        </p:txBody>
      </p:sp>
      <p:sp>
        <p:nvSpPr>
          <p:cNvPr id="6" name="Picture Placeholder 5">
            <a:extLst>
              <a:ext uri="{FF2B5EF4-FFF2-40B4-BE49-F238E27FC236}">
                <a16:creationId xmlns:a16="http://schemas.microsoft.com/office/drawing/2014/main" id="{BC331CBB-A728-0B4C-AF8D-8EFE584D0892}"/>
              </a:ext>
            </a:extLst>
          </p:cNvPr>
          <p:cNvSpPr>
            <a:spLocks noGrp="1"/>
          </p:cNvSpPr>
          <p:nvPr>
            <p:ph type="pic" sz="quarter" idx="15"/>
          </p:nvPr>
        </p:nvSpPr>
        <p:spPr>
          <a:xfrm>
            <a:off x="0" y="0"/>
            <a:ext cx="4050000" cy="3430800"/>
          </a:xfrm>
        </p:spPr>
        <p:txBody>
          <a:bodyPr/>
          <a:lstStyle/>
          <a:p>
            <a:r>
              <a:rPr lang="en-US" dirty="0"/>
              <a:t>Click icon to add picture</a:t>
            </a:r>
            <a:endParaRPr lang="ar-SA" dirty="0"/>
          </a:p>
        </p:txBody>
      </p:sp>
      <p:sp>
        <p:nvSpPr>
          <p:cNvPr id="14" name="Picture Placeholder 5">
            <a:extLst>
              <a:ext uri="{FF2B5EF4-FFF2-40B4-BE49-F238E27FC236}">
                <a16:creationId xmlns:a16="http://schemas.microsoft.com/office/drawing/2014/main" id="{B29752BB-8092-2B4A-803A-2F006D0CBD11}"/>
              </a:ext>
            </a:extLst>
          </p:cNvPr>
          <p:cNvSpPr>
            <a:spLocks noGrp="1"/>
          </p:cNvSpPr>
          <p:nvPr>
            <p:ph type="pic" sz="quarter" idx="16"/>
          </p:nvPr>
        </p:nvSpPr>
        <p:spPr>
          <a:xfrm>
            <a:off x="4045601" y="0"/>
            <a:ext cx="4050000" cy="3430800"/>
          </a:xfrm>
        </p:spPr>
        <p:txBody>
          <a:bodyPr/>
          <a:lstStyle/>
          <a:p>
            <a:r>
              <a:rPr lang="en-US" dirty="0"/>
              <a:t>Click icon to add picture</a:t>
            </a:r>
            <a:endParaRPr lang="ar-SA" dirty="0"/>
          </a:p>
        </p:txBody>
      </p:sp>
      <p:sp>
        <p:nvSpPr>
          <p:cNvPr id="15" name="Picture Placeholder 5">
            <a:extLst>
              <a:ext uri="{FF2B5EF4-FFF2-40B4-BE49-F238E27FC236}">
                <a16:creationId xmlns:a16="http://schemas.microsoft.com/office/drawing/2014/main" id="{9C1E16C3-B65F-184F-9858-59B650A8BF0B}"/>
              </a:ext>
            </a:extLst>
          </p:cNvPr>
          <p:cNvSpPr>
            <a:spLocks noGrp="1"/>
          </p:cNvSpPr>
          <p:nvPr>
            <p:ph type="pic" sz="quarter" idx="17"/>
          </p:nvPr>
        </p:nvSpPr>
        <p:spPr>
          <a:xfrm>
            <a:off x="8091201" y="0"/>
            <a:ext cx="4092898" cy="3430800"/>
          </a:xfrm>
        </p:spPr>
        <p:txBody>
          <a:bodyPr/>
          <a:lstStyle/>
          <a:p>
            <a:r>
              <a:rPr lang="en-US" dirty="0"/>
              <a:t>Click icon to add picture</a:t>
            </a:r>
            <a:endParaRPr lang="ar-SA" dirty="0"/>
          </a:p>
        </p:txBody>
      </p:sp>
      <p:sp>
        <p:nvSpPr>
          <p:cNvPr id="3" name="Slide Number Placeholder 2">
            <a:extLst>
              <a:ext uri="{FF2B5EF4-FFF2-40B4-BE49-F238E27FC236}">
                <a16:creationId xmlns:a16="http://schemas.microsoft.com/office/drawing/2014/main" id="{F664EE6A-6041-8E4C-A351-9CA4815BE679}"/>
              </a:ext>
            </a:extLst>
          </p:cNvPr>
          <p:cNvSpPr>
            <a:spLocks noGrp="1"/>
          </p:cNvSpPr>
          <p:nvPr>
            <p:ph type="sldNum" sz="quarter" idx="10"/>
          </p:nvPr>
        </p:nvSpPr>
        <p:spPr>
          <a:xfrm>
            <a:off x="359999" y="6325659"/>
            <a:ext cx="125034" cy="549274"/>
          </a:xfrm>
        </p:spPr>
        <p:txBody>
          <a:bodyPr/>
          <a:lstStyle/>
          <a:p>
            <a:fld id="{9A0F7689-66CB-EC4F-9B5C-9C3D3ED1F24F}" type="slidenum">
              <a:rPr lang="en-US" smtClean="0"/>
              <a:pPr/>
              <a:t>‹#›</a:t>
            </a:fld>
            <a:endParaRPr lang="en-US" dirty="0"/>
          </a:p>
        </p:txBody>
      </p:sp>
      <p:sp>
        <p:nvSpPr>
          <p:cNvPr id="7" name="Text Placeholder 6">
            <a:extLst>
              <a:ext uri="{FF2B5EF4-FFF2-40B4-BE49-F238E27FC236}">
                <a16:creationId xmlns:a16="http://schemas.microsoft.com/office/drawing/2014/main" id="{FE10F09E-A1A1-7846-9CD2-4EC968B746F8}"/>
              </a:ext>
            </a:extLst>
          </p:cNvPr>
          <p:cNvSpPr>
            <a:spLocks noGrp="1"/>
          </p:cNvSpPr>
          <p:nvPr>
            <p:ph type="body" sz="quarter" idx="21" hasCustomPrompt="1"/>
          </p:nvPr>
        </p:nvSpPr>
        <p:spPr>
          <a:xfrm>
            <a:off x="0" y="0"/>
            <a:ext cx="4064000" cy="1398777"/>
          </a:xfrm>
        </p:spPr>
        <p:txBody>
          <a:bodyPr lIns="360000" tIns="1044000" rIns="180000">
            <a:spAutoFit/>
          </a:bodyPr>
          <a:lstStyle>
            <a:lvl1pPr marL="0" indent="0">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9" name="Text Placeholder 8">
            <a:extLst>
              <a:ext uri="{FF2B5EF4-FFF2-40B4-BE49-F238E27FC236}">
                <a16:creationId xmlns:a16="http://schemas.microsoft.com/office/drawing/2014/main" id="{4E8AD72A-19AB-2444-8FB0-B56918526444}"/>
              </a:ext>
            </a:extLst>
          </p:cNvPr>
          <p:cNvSpPr>
            <a:spLocks noGrp="1"/>
          </p:cNvSpPr>
          <p:nvPr>
            <p:ph type="body" sz="quarter" idx="27" hasCustomPrompt="1"/>
          </p:nvPr>
        </p:nvSpPr>
        <p:spPr>
          <a:xfrm>
            <a:off x="0" y="1456267"/>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28" name="Text Placeholder 6">
            <a:extLst>
              <a:ext uri="{FF2B5EF4-FFF2-40B4-BE49-F238E27FC236}">
                <a16:creationId xmlns:a16="http://schemas.microsoft.com/office/drawing/2014/main" id="{8BCE1200-691D-3A4D-89CB-198A2B97AB9F}"/>
              </a:ext>
            </a:extLst>
          </p:cNvPr>
          <p:cNvSpPr>
            <a:spLocks noGrp="1"/>
          </p:cNvSpPr>
          <p:nvPr>
            <p:ph type="body" sz="quarter" idx="28" hasCustomPrompt="1"/>
          </p:nvPr>
        </p:nvSpPr>
        <p:spPr>
          <a:xfrm>
            <a:off x="4038600" y="0"/>
            <a:ext cx="4064000" cy="1398777"/>
          </a:xfrm>
        </p:spPr>
        <p:txBody>
          <a:bodyPr lIns="360000" tIns="1044000" rIns="180000">
            <a:spAutoFit/>
          </a:bodyPr>
          <a:lstStyle>
            <a:lvl1pPr marL="0" indent="0">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29" name="Text Placeholder 8">
            <a:extLst>
              <a:ext uri="{FF2B5EF4-FFF2-40B4-BE49-F238E27FC236}">
                <a16:creationId xmlns:a16="http://schemas.microsoft.com/office/drawing/2014/main" id="{120F7620-4CA7-EF40-9659-3B5F3B76B32C}"/>
              </a:ext>
            </a:extLst>
          </p:cNvPr>
          <p:cNvSpPr>
            <a:spLocks noGrp="1"/>
          </p:cNvSpPr>
          <p:nvPr>
            <p:ph type="body" sz="quarter" idx="29" hasCustomPrompt="1"/>
          </p:nvPr>
        </p:nvSpPr>
        <p:spPr>
          <a:xfrm>
            <a:off x="4038600" y="1456267"/>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0" name="Text Placeholder 6">
            <a:extLst>
              <a:ext uri="{FF2B5EF4-FFF2-40B4-BE49-F238E27FC236}">
                <a16:creationId xmlns:a16="http://schemas.microsoft.com/office/drawing/2014/main" id="{14E3D82E-D163-0946-842C-70744B38836C}"/>
              </a:ext>
            </a:extLst>
          </p:cNvPr>
          <p:cNvSpPr>
            <a:spLocks noGrp="1"/>
          </p:cNvSpPr>
          <p:nvPr>
            <p:ph type="body" sz="quarter" idx="30" hasCustomPrompt="1"/>
          </p:nvPr>
        </p:nvSpPr>
        <p:spPr>
          <a:xfrm>
            <a:off x="8085668" y="0"/>
            <a:ext cx="4107046" cy="1398777"/>
          </a:xfrm>
        </p:spPr>
        <p:txBody>
          <a:bodyPr wrap="square" lIns="360000" tIns="1044000" rIns="180000">
            <a:spAutoFit/>
          </a:bodyPr>
          <a:lstStyle>
            <a:lvl1pPr marL="0" indent="0">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1" name="Text Placeholder 8">
            <a:extLst>
              <a:ext uri="{FF2B5EF4-FFF2-40B4-BE49-F238E27FC236}">
                <a16:creationId xmlns:a16="http://schemas.microsoft.com/office/drawing/2014/main" id="{AF0E4F46-D614-1D48-A825-5009D8C25CA5}"/>
              </a:ext>
            </a:extLst>
          </p:cNvPr>
          <p:cNvSpPr>
            <a:spLocks noGrp="1"/>
          </p:cNvSpPr>
          <p:nvPr>
            <p:ph type="body" sz="quarter" idx="31" hasCustomPrompt="1"/>
          </p:nvPr>
        </p:nvSpPr>
        <p:spPr>
          <a:xfrm>
            <a:off x="8085667" y="1456267"/>
            <a:ext cx="4089399" cy="1611586"/>
          </a:xfrm>
        </p:spPr>
        <p:txBody>
          <a:bodyPr wrap="square"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2" name="Text Placeholder 6">
            <a:extLst>
              <a:ext uri="{FF2B5EF4-FFF2-40B4-BE49-F238E27FC236}">
                <a16:creationId xmlns:a16="http://schemas.microsoft.com/office/drawing/2014/main" id="{D7AD6C3E-37D6-A44E-87F3-C1E2CDE85E9B}"/>
              </a:ext>
            </a:extLst>
          </p:cNvPr>
          <p:cNvSpPr>
            <a:spLocks noGrp="1"/>
          </p:cNvSpPr>
          <p:nvPr>
            <p:ph type="body" sz="quarter" idx="32" hasCustomPrompt="1"/>
          </p:nvPr>
        </p:nvSpPr>
        <p:spPr>
          <a:xfrm>
            <a:off x="0" y="3412067"/>
            <a:ext cx="4064000" cy="1435128"/>
          </a:xfrm>
        </p:spPr>
        <p:txBody>
          <a:bodyPr lIns="360000" tIns="1044000" rIns="180000">
            <a:spAutoFit/>
          </a:bodyPr>
          <a:lstStyle>
            <a:lvl1pPr marL="0" indent="0">
              <a:spcAft>
                <a:spcPts val="600"/>
              </a:spcAft>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3" name="Text Placeholder 8">
            <a:extLst>
              <a:ext uri="{FF2B5EF4-FFF2-40B4-BE49-F238E27FC236}">
                <a16:creationId xmlns:a16="http://schemas.microsoft.com/office/drawing/2014/main" id="{A096E938-494C-AE40-B382-AA9A2F7E215B}"/>
              </a:ext>
            </a:extLst>
          </p:cNvPr>
          <p:cNvSpPr>
            <a:spLocks noGrp="1"/>
          </p:cNvSpPr>
          <p:nvPr>
            <p:ph type="body" sz="quarter" idx="33" hasCustomPrompt="1"/>
          </p:nvPr>
        </p:nvSpPr>
        <p:spPr>
          <a:xfrm>
            <a:off x="0" y="4775199"/>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4" name="Text Placeholder 6">
            <a:extLst>
              <a:ext uri="{FF2B5EF4-FFF2-40B4-BE49-F238E27FC236}">
                <a16:creationId xmlns:a16="http://schemas.microsoft.com/office/drawing/2014/main" id="{9F2F18A9-555B-7743-AEB8-9723F979038A}"/>
              </a:ext>
            </a:extLst>
          </p:cNvPr>
          <p:cNvSpPr>
            <a:spLocks noGrp="1"/>
          </p:cNvSpPr>
          <p:nvPr>
            <p:ph type="body" sz="quarter" idx="34" hasCustomPrompt="1"/>
          </p:nvPr>
        </p:nvSpPr>
        <p:spPr>
          <a:xfrm>
            <a:off x="4038600" y="3412067"/>
            <a:ext cx="4064000" cy="1435128"/>
          </a:xfrm>
        </p:spPr>
        <p:txBody>
          <a:bodyPr lIns="360000" tIns="1044000" rIns="180000">
            <a:spAutoFit/>
          </a:bodyPr>
          <a:lstStyle>
            <a:lvl1pPr marL="0" indent="0">
              <a:spcAft>
                <a:spcPts val="600"/>
              </a:spcAft>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5" name="Text Placeholder 8">
            <a:extLst>
              <a:ext uri="{FF2B5EF4-FFF2-40B4-BE49-F238E27FC236}">
                <a16:creationId xmlns:a16="http://schemas.microsoft.com/office/drawing/2014/main" id="{ADEB42D0-7462-224F-9E2C-503723BE40C1}"/>
              </a:ext>
            </a:extLst>
          </p:cNvPr>
          <p:cNvSpPr>
            <a:spLocks noGrp="1"/>
          </p:cNvSpPr>
          <p:nvPr>
            <p:ph type="body" sz="quarter" idx="35" hasCustomPrompt="1"/>
          </p:nvPr>
        </p:nvSpPr>
        <p:spPr>
          <a:xfrm>
            <a:off x="4038600" y="4775199"/>
            <a:ext cx="4046538" cy="1611586"/>
          </a:xfrm>
        </p:spPr>
        <p:txBody>
          <a:bodyPr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36" name="Text Placeholder 6">
            <a:extLst>
              <a:ext uri="{FF2B5EF4-FFF2-40B4-BE49-F238E27FC236}">
                <a16:creationId xmlns:a16="http://schemas.microsoft.com/office/drawing/2014/main" id="{1B3C86D0-1A4B-B148-8851-98CE5E30C3CE}"/>
              </a:ext>
            </a:extLst>
          </p:cNvPr>
          <p:cNvSpPr>
            <a:spLocks noGrp="1"/>
          </p:cNvSpPr>
          <p:nvPr>
            <p:ph type="body" sz="quarter" idx="36" hasCustomPrompt="1"/>
          </p:nvPr>
        </p:nvSpPr>
        <p:spPr>
          <a:xfrm>
            <a:off x="8085668" y="3412067"/>
            <a:ext cx="4107046" cy="1435128"/>
          </a:xfrm>
        </p:spPr>
        <p:txBody>
          <a:bodyPr wrap="square" lIns="360000" tIns="1044000" rIns="180000">
            <a:spAutoFit/>
          </a:bodyPr>
          <a:lstStyle>
            <a:lvl1pPr marL="0" indent="0">
              <a:spcAft>
                <a:spcPts val="600"/>
              </a:spcAft>
              <a:buNone/>
              <a:defRPr sz="2000" b="1" i="0" spc="-150">
                <a:latin typeface="Arial Black" panose="020B0604020202020204" pitchFamily="34" charset="0"/>
                <a:cs typeface="Arial Black" panose="020B0604020202020204" pitchFamily="34" charset="0"/>
              </a:defRPr>
            </a:lvl1pPr>
          </a:lstStyle>
          <a:p>
            <a:pPr lvl="0"/>
            <a:r>
              <a:rPr lang="en-GB" dirty="0"/>
              <a:t>Section Title</a:t>
            </a:r>
            <a:endParaRPr lang="ar-SA" dirty="0"/>
          </a:p>
        </p:txBody>
      </p:sp>
      <p:sp>
        <p:nvSpPr>
          <p:cNvPr id="37" name="Text Placeholder 8">
            <a:extLst>
              <a:ext uri="{FF2B5EF4-FFF2-40B4-BE49-F238E27FC236}">
                <a16:creationId xmlns:a16="http://schemas.microsoft.com/office/drawing/2014/main" id="{74FB06E4-1E5E-4F4E-BAF9-50571C769EE9}"/>
              </a:ext>
            </a:extLst>
          </p:cNvPr>
          <p:cNvSpPr>
            <a:spLocks noGrp="1"/>
          </p:cNvSpPr>
          <p:nvPr>
            <p:ph type="body" sz="quarter" idx="37" hasCustomPrompt="1"/>
          </p:nvPr>
        </p:nvSpPr>
        <p:spPr>
          <a:xfrm>
            <a:off x="8085667" y="4775199"/>
            <a:ext cx="4089399" cy="1611586"/>
          </a:xfrm>
        </p:spPr>
        <p:txBody>
          <a:bodyPr wrap="square" lIns="360000" tIns="72000" rIns="180000">
            <a:spAutoFit/>
          </a:bodyPr>
          <a:lstStyle>
            <a:lvl1pPr>
              <a:lnSpc>
                <a:spcPct val="100000"/>
              </a:lnSpc>
              <a:spcBef>
                <a:spcPts val="0"/>
              </a:spcBef>
              <a:spcAft>
                <a:spcPts val="600"/>
              </a:spcAft>
              <a:defRPr/>
            </a:lvl1pPr>
          </a:lstStyle>
          <a:p>
            <a:pPr lvl="0"/>
            <a:r>
              <a:rPr lang="en-GB" dirty="0"/>
              <a:t>List of a few</a:t>
            </a:r>
          </a:p>
          <a:p>
            <a:pPr lvl="0"/>
            <a:r>
              <a:rPr lang="en-GB" dirty="0"/>
              <a:t>Arguments or maybe</a:t>
            </a:r>
          </a:p>
          <a:p>
            <a:pPr lvl="0"/>
            <a:r>
              <a:rPr lang="en-GB" dirty="0"/>
              <a:t>Valuable points</a:t>
            </a:r>
          </a:p>
          <a:p>
            <a:pPr lvl="0"/>
            <a:r>
              <a:rPr lang="en-GB" dirty="0"/>
              <a:t>That add to</a:t>
            </a:r>
          </a:p>
          <a:p>
            <a:pPr lvl="0"/>
            <a:r>
              <a:rPr lang="en-GB" dirty="0"/>
              <a:t>The story of this slide</a:t>
            </a:r>
            <a:endParaRPr lang="ar-SA" dirty="0"/>
          </a:p>
        </p:txBody>
      </p:sp>
      <p:sp>
        <p:nvSpPr>
          <p:cNvPr id="4" name="Title 3">
            <a:extLst>
              <a:ext uri="{FF2B5EF4-FFF2-40B4-BE49-F238E27FC236}">
                <a16:creationId xmlns:a16="http://schemas.microsoft.com/office/drawing/2014/main" id="{F121C6C8-157F-F549-AB35-A8B5458C2F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952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0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tyle 1) 2 Colored Columns" preserve="1">
  <p:cSld name="(Style 1) 2 Colored Columns">
    <p:spTree>
      <p:nvGrpSpPr>
        <p:cNvPr id="1" name="Shape 60"/>
        <p:cNvGrpSpPr/>
        <p:nvPr/>
      </p:nvGrpSpPr>
      <p:grpSpPr>
        <a:xfrm>
          <a:off x="0" y="0"/>
          <a:ext cx="0" cy="0"/>
          <a:chOff x="0" y="0"/>
          <a:chExt cx="0" cy="0"/>
        </a:xfrm>
      </p:grpSpPr>
      <p:sp>
        <p:nvSpPr>
          <p:cNvPr id="61" name="Google Shape;61;p81"/>
          <p:cNvSpPr txBox="1">
            <a:spLocks noGrp="1"/>
          </p:cNvSpPr>
          <p:nvPr>
            <p:ph type="title"/>
          </p:nvPr>
        </p:nvSpPr>
        <p:spPr>
          <a:xfrm>
            <a:off x="359999" y="360000"/>
            <a:ext cx="11453941" cy="360000"/>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accent5"/>
              </a:buClr>
              <a:buSzPts val="16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 name="Google Shape;62;p81"/>
          <p:cNvSpPr txBox="1">
            <a:spLocks noGrp="1"/>
          </p:cNvSpPr>
          <p:nvPr>
            <p:ph type="body" idx="1"/>
          </p:nvPr>
        </p:nvSpPr>
        <p:spPr>
          <a:xfrm>
            <a:off x="360000" y="1073150"/>
            <a:ext cx="55512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 name="Google Shape;63;p81"/>
          <p:cNvSpPr txBox="1">
            <a:spLocks noGrp="1"/>
          </p:cNvSpPr>
          <p:nvPr>
            <p:ph type="body" idx="2"/>
          </p:nvPr>
        </p:nvSpPr>
        <p:spPr>
          <a:xfrm>
            <a:off x="6262741" y="1080000"/>
            <a:ext cx="5551200" cy="4977900"/>
          </a:xfrm>
          <a:prstGeom prst="rect">
            <a:avLst/>
          </a:prstGeom>
          <a:solidFill>
            <a:srgbClr val="FFFFFF"/>
          </a:solidFill>
          <a:ln>
            <a:noFill/>
          </a:ln>
        </p:spPr>
        <p:txBody>
          <a:bodyPr spcFirstLastPara="1" wrap="square" lIns="108000" tIns="108000" rIns="108000" bIns="108000" anchor="t" anchorCtr="0">
            <a:noAutofit/>
          </a:bodyPr>
          <a:lstStyle>
            <a:lvl1pPr marL="457200" lvl="0" indent="-330200" algn="l">
              <a:lnSpc>
                <a:spcPct val="120000"/>
              </a:lnSpc>
              <a:spcBef>
                <a:spcPts val="1200"/>
              </a:spcBef>
              <a:spcAft>
                <a:spcPts val="0"/>
              </a:spcAft>
              <a:buSzPts val="1600"/>
              <a:buChar char="•"/>
              <a:defRPr/>
            </a:lvl1pPr>
            <a:lvl2pPr marL="914400" lvl="1" indent="-330200" algn="l">
              <a:lnSpc>
                <a:spcPct val="120000"/>
              </a:lnSpc>
              <a:spcBef>
                <a:spcPts val="1200"/>
              </a:spcBef>
              <a:spcAft>
                <a:spcPts val="0"/>
              </a:spcAft>
              <a:buSzPts val="1600"/>
              <a:buChar char="-"/>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 name="Google Shape;64;p81"/>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
        <p:nvSpPr>
          <p:cNvPr id="65" name="Google Shape;65;p81"/>
          <p:cNvSpPr txBox="1">
            <a:spLocks noGrp="1"/>
          </p:cNvSpPr>
          <p:nvPr>
            <p:ph type="body" idx="3"/>
          </p:nvPr>
        </p:nvSpPr>
        <p:spPr>
          <a:xfrm>
            <a:off x="360000" y="5337900"/>
            <a:ext cx="5551487"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11150" algn="l">
              <a:lnSpc>
                <a:spcPct val="120000"/>
              </a:lnSpc>
              <a:spcBef>
                <a:spcPts val="500"/>
              </a:spcBef>
              <a:spcAft>
                <a:spcPts val="0"/>
              </a:spcAft>
              <a:buSzPts val="1300"/>
              <a:buChar char="-"/>
              <a:defRPr sz="1300">
                <a:solidFill>
                  <a:schemeClr val="lt1"/>
                </a:solidFil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 name="Google Shape;66;p81"/>
          <p:cNvSpPr txBox="1">
            <a:spLocks noGrp="1"/>
          </p:cNvSpPr>
          <p:nvPr>
            <p:ph type="body" idx="4"/>
          </p:nvPr>
        </p:nvSpPr>
        <p:spPr>
          <a:xfrm>
            <a:off x="6263452" y="5337900"/>
            <a:ext cx="5551487" cy="720000"/>
          </a:xfrm>
          <a:prstGeom prst="rect">
            <a:avLst/>
          </a:prstGeom>
          <a:solidFill>
            <a:schemeClr val="dk1"/>
          </a:solidFill>
          <a:ln>
            <a:noFill/>
          </a:ln>
        </p:spPr>
        <p:txBody>
          <a:bodyPr spcFirstLastPara="1" wrap="square" lIns="108000" tIns="108000" rIns="108000" bIns="0" anchor="t" anchorCtr="0">
            <a:noAutofit/>
          </a:bodyPr>
          <a:lstStyle>
            <a:lvl1pPr marL="457200" lvl="0" indent="-311150" algn="l">
              <a:lnSpc>
                <a:spcPct val="120000"/>
              </a:lnSpc>
              <a:spcBef>
                <a:spcPts val="1200"/>
              </a:spcBef>
              <a:spcAft>
                <a:spcPts val="0"/>
              </a:spcAft>
              <a:buSzPts val="1300"/>
              <a:buChar char="•"/>
              <a:defRPr sz="1300">
                <a:solidFill>
                  <a:schemeClr val="lt1"/>
                </a:solidFill>
              </a:defRPr>
            </a:lvl1pPr>
            <a:lvl2pPr marL="914400" lvl="1" indent="-311150" algn="l">
              <a:lnSpc>
                <a:spcPct val="120000"/>
              </a:lnSpc>
              <a:spcBef>
                <a:spcPts val="1200"/>
              </a:spcBef>
              <a:spcAft>
                <a:spcPts val="0"/>
              </a:spcAft>
              <a:buSzPts val="1300"/>
              <a:buChar char="-"/>
              <a:defRPr sz="1300">
                <a:solidFill>
                  <a:schemeClr val="lt1"/>
                </a:solidFill>
              </a:defRPr>
            </a:lvl2pPr>
            <a:lvl3pPr marL="1371600" lvl="2" indent="-342900" algn="l">
              <a:lnSpc>
                <a:spcPct val="120000"/>
              </a:lnSpc>
              <a:spcBef>
                <a:spcPts val="500"/>
              </a:spcBef>
              <a:spcAft>
                <a:spcPts val="0"/>
              </a:spcAft>
              <a:buSzPts val="1800"/>
              <a:buChar char="•"/>
              <a:defRPr/>
            </a:lvl3pPr>
            <a:lvl4pPr marL="1828800" lvl="3" indent="-342900" algn="l">
              <a:lnSpc>
                <a:spcPct val="120000"/>
              </a:lnSpc>
              <a:spcBef>
                <a:spcPts val="500"/>
              </a:spcBef>
              <a:spcAft>
                <a:spcPts val="0"/>
              </a:spcAft>
              <a:buSzPts val="1800"/>
              <a:buChar char="•"/>
              <a:defRPr/>
            </a:lvl4pPr>
            <a:lvl5pPr marL="2286000" lvl="4" indent="-342900" algn="l">
              <a:lnSpc>
                <a:spcPct val="12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9685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Case Study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0C7AB-17FB-2E45-8A14-F90B3CEE6E6D}"/>
              </a:ext>
            </a:extLst>
          </p:cNvPr>
          <p:cNvSpPr>
            <a:spLocks noGrp="1"/>
          </p:cNvSpPr>
          <p:nvPr>
            <p:ph type="title" hasCustomPrompt="1"/>
          </p:nvPr>
        </p:nvSpPr>
        <p:spPr>
          <a:xfrm>
            <a:off x="360000" y="0"/>
            <a:ext cx="9648000" cy="1263600"/>
          </a:xfrm>
        </p:spPr>
        <p:txBody>
          <a:bodyPr anchor="ctr" anchorCtr="0"/>
          <a:lstStyle>
            <a:lvl1pPr>
              <a:lnSpc>
                <a:spcPct val="100000"/>
              </a:lnSpc>
              <a:defRPr sz="2400" b="1" i="0" spc="-150" baseline="0">
                <a:solidFill>
                  <a:schemeClr val="bg2"/>
                </a:solidFill>
                <a:latin typeface="Arial Black" panose="020B0604020202020204" pitchFamily="34" charset="0"/>
                <a:cs typeface="Arial Black" panose="020B0604020202020204" pitchFamily="34" charset="0"/>
              </a:defRPr>
            </a:lvl1pPr>
          </a:lstStyle>
          <a:p>
            <a:r>
              <a:rPr lang="en-GB"/>
              <a:t>Click to edit master title style</a:t>
            </a:r>
            <a:endParaRPr lang="ar-SA"/>
          </a:p>
        </p:txBody>
      </p:sp>
      <p:sp>
        <p:nvSpPr>
          <p:cNvPr id="3" name="Slide Number Placeholder 2">
            <a:extLst>
              <a:ext uri="{FF2B5EF4-FFF2-40B4-BE49-F238E27FC236}">
                <a16:creationId xmlns:a16="http://schemas.microsoft.com/office/drawing/2014/main" id="{D44B9958-9D04-3F4A-A81F-8BA79836EFF0}"/>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8" name="Picture Placeholder 15">
            <a:extLst>
              <a:ext uri="{FF2B5EF4-FFF2-40B4-BE49-F238E27FC236}">
                <a16:creationId xmlns:a16="http://schemas.microsoft.com/office/drawing/2014/main" id="{AB8D3942-DD43-364C-9A77-FBC6C40762E4}"/>
              </a:ext>
            </a:extLst>
          </p:cNvPr>
          <p:cNvSpPr>
            <a:spLocks noGrp="1"/>
          </p:cNvSpPr>
          <p:nvPr>
            <p:ph type="pic" sz="quarter" idx="12"/>
          </p:nvPr>
        </p:nvSpPr>
        <p:spPr>
          <a:xfrm>
            <a:off x="10213939" y="0"/>
            <a:ext cx="1600000" cy="1263600"/>
          </a:xfrm>
        </p:spPr>
        <p:txBody>
          <a:bodyPr anchor="ctr" anchorCtr="0"/>
          <a:lstStyle>
            <a:lvl1pPr marL="0" indent="0" algn="r">
              <a:buNone/>
              <a:defRPr/>
            </a:lvl1pPr>
          </a:lstStyle>
          <a:p>
            <a:r>
              <a:rPr lang="en-US" dirty="0"/>
              <a:t>Click icon to add picture</a:t>
            </a:r>
          </a:p>
        </p:txBody>
      </p:sp>
      <p:sp>
        <p:nvSpPr>
          <p:cNvPr id="15" name="Rectangle 14">
            <a:extLst>
              <a:ext uri="{FF2B5EF4-FFF2-40B4-BE49-F238E27FC236}">
                <a16:creationId xmlns:a16="http://schemas.microsoft.com/office/drawing/2014/main" id="{488D16FF-04F3-CF4D-826E-036D95262513}"/>
              </a:ext>
            </a:extLst>
          </p:cNvPr>
          <p:cNvSpPr/>
          <p:nvPr userDrawn="1"/>
        </p:nvSpPr>
        <p:spPr>
          <a:xfrm>
            <a:off x="1" y="1260000"/>
            <a:ext cx="11833200" cy="50472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en-US" dirty="0"/>
          </a:p>
        </p:txBody>
      </p:sp>
      <p:sp>
        <p:nvSpPr>
          <p:cNvPr id="16" name="ROBUST SANDBOX">
            <a:extLst>
              <a:ext uri="{FF2B5EF4-FFF2-40B4-BE49-F238E27FC236}">
                <a16:creationId xmlns:a16="http://schemas.microsoft.com/office/drawing/2014/main" id="{F02B94EE-1770-894C-9784-CF44654988C3}"/>
              </a:ext>
            </a:extLst>
          </p:cNvPr>
          <p:cNvSpPr txBox="1"/>
          <p:nvPr userDrawn="1"/>
        </p:nvSpPr>
        <p:spPr>
          <a:xfrm>
            <a:off x="4251600" y="1382400"/>
            <a:ext cx="3671999" cy="540000"/>
          </a:xfrm>
          <a:prstGeom prst="rect">
            <a:avLst/>
          </a:prstGeom>
          <a:noFill/>
          <a:ln>
            <a:no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kumimoji="0" lang="en-US" b="1" u="none" strike="noStrike" kern="1200" cap="none" normalizeH="0" noProof="0" dirty="0">
                <a:ln>
                  <a:noFill/>
                </a:ln>
                <a:solidFill>
                  <a:schemeClr val="tx1"/>
                </a:solidFill>
                <a:effectLst/>
                <a:uLnTx/>
                <a:uFillTx/>
                <a:latin typeface="+mj-lt"/>
                <a:cs typeface="Arial Black" panose="020B0604020202020204" pitchFamily="34" charset="0"/>
              </a:rPr>
              <a:t>Solutions</a:t>
            </a:r>
          </a:p>
        </p:txBody>
      </p:sp>
      <p:sp>
        <p:nvSpPr>
          <p:cNvPr id="17" name="MODULAR">
            <a:extLst>
              <a:ext uri="{FF2B5EF4-FFF2-40B4-BE49-F238E27FC236}">
                <a16:creationId xmlns:a16="http://schemas.microsoft.com/office/drawing/2014/main" id="{8BB3C91B-CFB7-4048-B73A-10F6FB3F6810}"/>
              </a:ext>
            </a:extLst>
          </p:cNvPr>
          <p:cNvSpPr txBox="1"/>
          <p:nvPr userDrawn="1"/>
        </p:nvSpPr>
        <p:spPr>
          <a:xfrm>
            <a:off x="360000" y="1382400"/>
            <a:ext cx="3671999" cy="540000"/>
          </a:xfrm>
          <a:prstGeom prst="rect">
            <a:avLst/>
          </a:prstGeom>
          <a:noFill/>
          <a:ln>
            <a:no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tx1"/>
                </a:solidFill>
                <a:latin typeface="+mj-lt"/>
                <a:cs typeface="Arial Black" panose="020B0604020202020204" pitchFamily="34" charset="0"/>
              </a:rPr>
              <a:t>Challenges</a:t>
            </a:r>
          </a:p>
        </p:txBody>
      </p:sp>
      <p:sp>
        <p:nvSpPr>
          <p:cNvPr id="18" name="ROBUST SANDBOX">
            <a:extLst>
              <a:ext uri="{FF2B5EF4-FFF2-40B4-BE49-F238E27FC236}">
                <a16:creationId xmlns:a16="http://schemas.microsoft.com/office/drawing/2014/main" id="{2BB39154-C0A6-4C46-B72F-40AF2E2BEF14}"/>
              </a:ext>
            </a:extLst>
          </p:cNvPr>
          <p:cNvSpPr txBox="1"/>
          <p:nvPr userDrawn="1"/>
        </p:nvSpPr>
        <p:spPr>
          <a:xfrm>
            <a:off x="8143200" y="1382103"/>
            <a:ext cx="3492000" cy="540000"/>
          </a:xfrm>
          <a:prstGeom prst="rect">
            <a:avLst/>
          </a:prstGeom>
          <a:noFill/>
          <a:ln>
            <a:no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tx1"/>
                </a:solidFill>
                <a:latin typeface="+mj-lt"/>
                <a:cs typeface="Arial Black" panose="020B0604020202020204" pitchFamily="34" charset="0"/>
              </a:rPr>
              <a:t>Outcomes</a:t>
            </a:r>
          </a:p>
        </p:txBody>
      </p:sp>
      <p:cxnSp>
        <p:nvCxnSpPr>
          <p:cNvPr id="19" name="Straight Connector 18">
            <a:extLst>
              <a:ext uri="{FF2B5EF4-FFF2-40B4-BE49-F238E27FC236}">
                <a16:creationId xmlns:a16="http://schemas.microsoft.com/office/drawing/2014/main" id="{070A8238-3A12-AF4B-96FA-C304AA8A4BD1}"/>
              </a:ext>
            </a:extLst>
          </p:cNvPr>
          <p:cNvCxnSpPr>
            <a:cxnSpLocks/>
          </p:cNvCxnSpPr>
          <p:nvPr userDrawn="1"/>
        </p:nvCxnSpPr>
        <p:spPr>
          <a:xfrm>
            <a:off x="360000" y="1900800"/>
            <a:ext cx="3672000"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4AF62ED-781B-DA4D-B4B9-754E608B9176}"/>
              </a:ext>
            </a:extLst>
          </p:cNvPr>
          <p:cNvCxnSpPr>
            <a:cxnSpLocks/>
          </p:cNvCxnSpPr>
          <p:nvPr userDrawn="1"/>
        </p:nvCxnSpPr>
        <p:spPr>
          <a:xfrm>
            <a:off x="4251600" y="1900800"/>
            <a:ext cx="3672000"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5E095EA-1565-244F-8BF5-58785C25BCA0}"/>
              </a:ext>
            </a:extLst>
          </p:cNvPr>
          <p:cNvCxnSpPr>
            <a:cxnSpLocks/>
          </p:cNvCxnSpPr>
          <p:nvPr userDrawn="1"/>
        </p:nvCxnSpPr>
        <p:spPr>
          <a:xfrm>
            <a:off x="8143200" y="1900800"/>
            <a:ext cx="3492000"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24">
            <a:extLst>
              <a:ext uri="{FF2B5EF4-FFF2-40B4-BE49-F238E27FC236}">
                <a16:creationId xmlns:a16="http://schemas.microsoft.com/office/drawing/2014/main" id="{1DB0952F-6F70-034C-8F43-2DB7A8735F07}"/>
              </a:ext>
            </a:extLst>
          </p:cNvPr>
          <p:cNvSpPr>
            <a:spLocks noGrp="1"/>
          </p:cNvSpPr>
          <p:nvPr>
            <p:ph type="body" sz="quarter" idx="14" hasCustomPrompt="1"/>
          </p:nvPr>
        </p:nvSpPr>
        <p:spPr>
          <a:xfrm>
            <a:off x="4251600" y="2102400"/>
            <a:ext cx="3675600" cy="4050000"/>
          </a:xfrm>
        </p:spPr>
        <p:txBody>
          <a:bodyPr>
            <a:normAutofit/>
          </a:bodyPr>
          <a:lstStyle>
            <a:lvl1pPr marL="172800" indent="-180000">
              <a:lnSpc>
                <a:spcPct val="110000"/>
              </a:lnSpc>
              <a:spcBef>
                <a:spcPts val="0"/>
              </a:spcBef>
              <a:spcAft>
                <a:spcPts val="1200"/>
              </a:spcAft>
              <a:buFont typeface="System Font Regular"/>
              <a:buChar char="\"/>
              <a:defRPr sz="1400">
                <a:solidFill>
                  <a:schemeClr val="tx1"/>
                </a:solidFill>
              </a:defRPr>
            </a:lvl1pPr>
            <a:lvl2pPr marL="360000" indent="0">
              <a:lnSpc>
                <a:spcPct val="110000"/>
              </a:lnSpc>
              <a:spcBef>
                <a:spcPts val="0"/>
              </a:spcBef>
              <a:spcAft>
                <a:spcPts val="1200"/>
              </a:spcAft>
              <a:buNone/>
              <a:defRPr sz="1400">
                <a:solidFill>
                  <a:schemeClr val="tx1"/>
                </a:solidFill>
              </a:defRPr>
            </a:lvl2pPr>
          </a:lstStyle>
          <a:p>
            <a:pPr lvl="0"/>
            <a:r>
              <a:rPr lang="en-GB"/>
              <a:t>Click to edit master text styles</a:t>
            </a:r>
          </a:p>
          <a:p>
            <a:pPr lvl="0"/>
            <a:endParaRPr lang="en-GB"/>
          </a:p>
        </p:txBody>
      </p:sp>
      <p:sp>
        <p:nvSpPr>
          <p:cNvPr id="33" name="Text Placeholder 32">
            <a:extLst>
              <a:ext uri="{FF2B5EF4-FFF2-40B4-BE49-F238E27FC236}">
                <a16:creationId xmlns:a16="http://schemas.microsoft.com/office/drawing/2014/main" id="{7489F97D-53DB-BC4C-B10A-A5E67DCBB199}"/>
              </a:ext>
            </a:extLst>
          </p:cNvPr>
          <p:cNvSpPr>
            <a:spLocks noGrp="1"/>
          </p:cNvSpPr>
          <p:nvPr>
            <p:ph type="body" sz="quarter" idx="16" hasCustomPrompt="1"/>
          </p:nvPr>
        </p:nvSpPr>
        <p:spPr>
          <a:xfrm>
            <a:off x="8135999" y="2102400"/>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34" name="Text Placeholder 32">
            <a:extLst>
              <a:ext uri="{FF2B5EF4-FFF2-40B4-BE49-F238E27FC236}">
                <a16:creationId xmlns:a16="http://schemas.microsoft.com/office/drawing/2014/main" id="{6994B2F1-B396-4A42-BE92-7E3F83453F4A}"/>
              </a:ext>
            </a:extLst>
          </p:cNvPr>
          <p:cNvSpPr>
            <a:spLocks noGrp="1"/>
          </p:cNvSpPr>
          <p:nvPr>
            <p:ph type="body" sz="quarter" idx="17" hasCustomPrompt="1"/>
          </p:nvPr>
        </p:nvSpPr>
        <p:spPr>
          <a:xfrm>
            <a:off x="8136000" y="2484000"/>
            <a:ext cx="3492000" cy="360000"/>
          </a:xfrm>
          <a:solidFill>
            <a:schemeClr val="bg1"/>
          </a:solidFill>
          <a:effectLst>
            <a:outerShdw dist="12700" dir="5400000" algn="t" rotWithShape="0">
              <a:schemeClr val="tx2">
                <a:lumMod val="40000"/>
                <a:lumOff val="60000"/>
              </a:schemeClr>
            </a:outerShdw>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
        <p:nvSpPr>
          <p:cNvPr id="11" name="Text Placeholder 10">
            <a:extLst>
              <a:ext uri="{FF2B5EF4-FFF2-40B4-BE49-F238E27FC236}">
                <a16:creationId xmlns:a16="http://schemas.microsoft.com/office/drawing/2014/main" id="{33185859-63E4-5149-AA93-07B443766151}"/>
              </a:ext>
            </a:extLst>
          </p:cNvPr>
          <p:cNvSpPr>
            <a:spLocks noGrp="1"/>
          </p:cNvSpPr>
          <p:nvPr>
            <p:ph type="body" sz="quarter" idx="28" hasCustomPrompt="1"/>
          </p:nvPr>
        </p:nvSpPr>
        <p:spPr>
          <a:xfrm>
            <a:off x="358775" y="2101850"/>
            <a:ext cx="3675600" cy="4050000"/>
          </a:xfrm>
          <a:ln>
            <a:noFill/>
          </a:ln>
        </p:spPr>
        <p:txBody>
          <a:bodyPr>
            <a:normAutofit/>
          </a:bodyPr>
          <a:lstStyle>
            <a:lvl1pPr marL="172800" indent="-180000">
              <a:lnSpc>
                <a:spcPct val="110000"/>
              </a:lnSpc>
              <a:spcBef>
                <a:spcPts val="0"/>
              </a:spcBef>
              <a:spcAft>
                <a:spcPts val="1200"/>
              </a:spcAft>
              <a:buFont typeface="System Font Regular"/>
              <a:buChar char="\"/>
              <a:defRPr sz="1400">
                <a:solidFill>
                  <a:schemeClr val="tx1"/>
                </a:solidFill>
              </a:defRPr>
            </a:lvl1pPr>
            <a:lvl2pPr marL="172800">
              <a:lnSpc>
                <a:spcPct val="110000"/>
              </a:lnSpc>
              <a:spcBef>
                <a:spcPts val="0"/>
              </a:spcBef>
              <a:spcAft>
                <a:spcPts val="1200"/>
              </a:spcAft>
              <a:defRPr sz="1400">
                <a:solidFill>
                  <a:schemeClr val="tx1"/>
                </a:solidFill>
              </a:defRPr>
            </a:lvl2pPr>
            <a:lvl3pPr marL="172800">
              <a:lnSpc>
                <a:spcPct val="110000"/>
              </a:lnSpc>
              <a:spcBef>
                <a:spcPts val="0"/>
              </a:spcBef>
              <a:spcAft>
                <a:spcPts val="1200"/>
              </a:spcAft>
              <a:defRPr sz="1400">
                <a:solidFill>
                  <a:schemeClr val="tx1"/>
                </a:solidFill>
              </a:defRPr>
            </a:lvl3pPr>
            <a:lvl4pPr marL="172800">
              <a:lnSpc>
                <a:spcPct val="110000"/>
              </a:lnSpc>
              <a:spcBef>
                <a:spcPts val="0"/>
              </a:spcBef>
              <a:spcAft>
                <a:spcPts val="1200"/>
              </a:spcAft>
              <a:defRPr sz="1400">
                <a:solidFill>
                  <a:schemeClr val="tx1"/>
                </a:solidFill>
              </a:defRPr>
            </a:lvl4pPr>
            <a:lvl5pPr marL="172800">
              <a:lnSpc>
                <a:spcPct val="110000"/>
              </a:lnSpc>
              <a:spcBef>
                <a:spcPts val="0"/>
              </a:spcBef>
              <a:spcAft>
                <a:spcPts val="1200"/>
              </a:spcAft>
              <a:defRPr sz="1400">
                <a:solidFill>
                  <a:schemeClr val="tx1"/>
                </a:solidFill>
              </a:defRPr>
            </a:lvl5pPr>
          </a:lstStyle>
          <a:p>
            <a:pPr lvl="0"/>
            <a:r>
              <a:rPr lang="en-GB"/>
              <a:t>Click to edit master text styles</a:t>
            </a:r>
          </a:p>
        </p:txBody>
      </p:sp>
      <p:sp>
        <p:nvSpPr>
          <p:cNvPr id="31" name="Text Placeholder 32">
            <a:extLst>
              <a:ext uri="{FF2B5EF4-FFF2-40B4-BE49-F238E27FC236}">
                <a16:creationId xmlns:a16="http://schemas.microsoft.com/office/drawing/2014/main" id="{C7EBB505-C4E7-C141-876F-C91DD9CF9185}"/>
              </a:ext>
            </a:extLst>
          </p:cNvPr>
          <p:cNvSpPr>
            <a:spLocks noGrp="1"/>
          </p:cNvSpPr>
          <p:nvPr>
            <p:ph type="body" sz="quarter" idx="29" hasCustomPrompt="1"/>
          </p:nvPr>
        </p:nvSpPr>
        <p:spPr>
          <a:xfrm>
            <a:off x="8135999" y="3210767"/>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32" name="Text Placeholder 32">
            <a:extLst>
              <a:ext uri="{FF2B5EF4-FFF2-40B4-BE49-F238E27FC236}">
                <a16:creationId xmlns:a16="http://schemas.microsoft.com/office/drawing/2014/main" id="{2EC21501-A3C3-1341-A861-7D403C55D4AF}"/>
              </a:ext>
            </a:extLst>
          </p:cNvPr>
          <p:cNvSpPr>
            <a:spLocks noGrp="1"/>
          </p:cNvSpPr>
          <p:nvPr>
            <p:ph type="body" sz="quarter" idx="30" hasCustomPrompt="1"/>
          </p:nvPr>
        </p:nvSpPr>
        <p:spPr>
          <a:xfrm>
            <a:off x="8136000" y="3592367"/>
            <a:ext cx="3492000" cy="360000"/>
          </a:xfrm>
          <a:solidFill>
            <a:schemeClr val="bg1"/>
          </a:solidFill>
          <a:effectLst>
            <a:outerShdw dist="12700" dir="5400000" algn="t" rotWithShape="0">
              <a:schemeClr val="tx2">
                <a:lumMod val="40000"/>
                <a:lumOff val="60000"/>
              </a:schemeClr>
            </a:outerShdw>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
        <p:nvSpPr>
          <p:cNvPr id="42" name="Text Placeholder 32">
            <a:extLst>
              <a:ext uri="{FF2B5EF4-FFF2-40B4-BE49-F238E27FC236}">
                <a16:creationId xmlns:a16="http://schemas.microsoft.com/office/drawing/2014/main" id="{0199B378-CEF8-354D-8A0D-E490C5D661D7}"/>
              </a:ext>
            </a:extLst>
          </p:cNvPr>
          <p:cNvSpPr>
            <a:spLocks noGrp="1"/>
          </p:cNvSpPr>
          <p:nvPr>
            <p:ph type="body" sz="quarter" idx="31" hasCustomPrompt="1"/>
          </p:nvPr>
        </p:nvSpPr>
        <p:spPr>
          <a:xfrm>
            <a:off x="8135999" y="4308004"/>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43" name="Text Placeholder 32">
            <a:extLst>
              <a:ext uri="{FF2B5EF4-FFF2-40B4-BE49-F238E27FC236}">
                <a16:creationId xmlns:a16="http://schemas.microsoft.com/office/drawing/2014/main" id="{863606CD-FE7E-8D42-9594-8929842EABBD}"/>
              </a:ext>
            </a:extLst>
          </p:cNvPr>
          <p:cNvSpPr>
            <a:spLocks noGrp="1"/>
          </p:cNvSpPr>
          <p:nvPr>
            <p:ph type="body" sz="quarter" idx="32" hasCustomPrompt="1"/>
          </p:nvPr>
        </p:nvSpPr>
        <p:spPr>
          <a:xfrm>
            <a:off x="8136000" y="4689604"/>
            <a:ext cx="3492000" cy="360000"/>
          </a:xfrm>
          <a:solidFill>
            <a:schemeClr val="bg1"/>
          </a:solidFill>
          <a:effectLst>
            <a:outerShdw dist="12700" dir="5400000" algn="t" rotWithShape="0">
              <a:schemeClr val="tx2">
                <a:lumMod val="40000"/>
                <a:lumOff val="60000"/>
              </a:schemeClr>
            </a:outerShdw>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
        <p:nvSpPr>
          <p:cNvPr id="44" name="Text Placeholder 32">
            <a:extLst>
              <a:ext uri="{FF2B5EF4-FFF2-40B4-BE49-F238E27FC236}">
                <a16:creationId xmlns:a16="http://schemas.microsoft.com/office/drawing/2014/main" id="{0FC99C4E-81D7-6743-8425-24F8A8DBCA3C}"/>
              </a:ext>
            </a:extLst>
          </p:cNvPr>
          <p:cNvSpPr>
            <a:spLocks noGrp="1"/>
          </p:cNvSpPr>
          <p:nvPr>
            <p:ph type="body" sz="quarter" idx="33" hasCustomPrompt="1"/>
          </p:nvPr>
        </p:nvSpPr>
        <p:spPr>
          <a:xfrm>
            <a:off x="8135999" y="5405241"/>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45" name="Text Placeholder 32">
            <a:extLst>
              <a:ext uri="{FF2B5EF4-FFF2-40B4-BE49-F238E27FC236}">
                <a16:creationId xmlns:a16="http://schemas.microsoft.com/office/drawing/2014/main" id="{4BD33E9A-855E-BB44-9773-831855D8F054}"/>
              </a:ext>
            </a:extLst>
          </p:cNvPr>
          <p:cNvSpPr>
            <a:spLocks noGrp="1"/>
          </p:cNvSpPr>
          <p:nvPr>
            <p:ph type="body" sz="quarter" idx="34" hasCustomPrompt="1"/>
          </p:nvPr>
        </p:nvSpPr>
        <p:spPr>
          <a:xfrm>
            <a:off x="8136000" y="5786841"/>
            <a:ext cx="3492000" cy="360000"/>
          </a:xfrm>
          <a:solidFill>
            <a:schemeClr val="bg1"/>
          </a:solidFill>
          <a:effectLst/>
        </p:spPr>
        <p:txBody>
          <a:bodyPr anchor="t" anchorCtr="0">
            <a:normAutofit/>
          </a:bodyPr>
          <a:lstStyle>
            <a:lvl1pPr marL="0" indent="0">
              <a:buNone/>
              <a:defRPr sz="1400" b="0" i="0">
                <a:solidFill>
                  <a:schemeClr val="tx1">
                    <a:lumMod val="90000"/>
                    <a:lumOff val="10000"/>
                  </a:schemeClr>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Tree>
    <p:extLst>
      <p:ext uri="{BB962C8B-B14F-4D97-AF65-F5344CB8AC3E}">
        <p14:creationId xmlns:p14="http://schemas.microsoft.com/office/powerpoint/2010/main" val="52077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Case Study L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0C7AB-17FB-2E45-8A14-F90B3CEE6E6D}"/>
              </a:ext>
            </a:extLst>
          </p:cNvPr>
          <p:cNvSpPr>
            <a:spLocks noGrp="1"/>
          </p:cNvSpPr>
          <p:nvPr>
            <p:ph type="title" hasCustomPrompt="1"/>
          </p:nvPr>
        </p:nvSpPr>
        <p:spPr>
          <a:xfrm>
            <a:off x="360000" y="0"/>
            <a:ext cx="9648000" cy="1263600"/>
          </a:xfrm>
        </p:spPr>
        <p:txBody>
          <a:bodyPr anchor="ctr" anchorCtr="0"/>
          <a:lstStyle>
            <a:lvl1pPr>
              <a:lnSpc>
                <a:spcPct val="100000"/>
              </a:lnSpc>
              <a:defRPr sz="2400" b="1" i="0" spc="-150" baseline="0">
                <a:solidFill>
                  <a:schemeClr val="tx1">
                    <a:lumMod val="90000"/>
                    <a:lumOff val="10000"/>
                  </a:schemeClr>
                </a:solidFill>
                <a:latin typeface="Arial Black" panose="020B0604020202020204" pitchFamily="34" charset="0"/>
                <a:cs typeface="Arial Black" panose="020B0604020202020204" pitchFamily="34" charset="0"/>
              </a:defRPr>
            </a:lvl1pPr>
          </a:lstStyle>
          <a:p>
            <a:r>
              <a:rPr lang="en-GB"/>
              <a:t>Click to edit master title style</a:t>
            </a:r>
            <a:endParaRPr lang="ar-SA"/>
          </a:p>
        </p:txBody>
      </p:sp>
      <p:sp>
        <p:nvSpPr>
          <p:cNvPr id="3" name="Slide Number Placeholder 2">
            <a:extLst>
              <a:ext uri="{FF2B5EF4-FFF2-40B4-BE49-F238E27FC236}">
                <a16:creationId xmlns:a16="http://schemas.microsoft.com/office/drawing/2014/main" id="{D44B9958-9D04-3F4A-A81F-8BA79836EFF0}"/>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8" name="Picture Placeholder 15">
            <a:extLst>
              <a:ext uri="{FF2B5EF4-FFF2-40B4-BE49-F238E27FC236}">
                <a16:creationId xmlns:a16="http://schemas.microsoft.com/office/drawing/2014/main" id="{AB8D3942-DD43-364C-9A77-FBC6C40762E4}"/>
              </a:ext>
            </a:extLst>
          </p:cNvPr>
          <p:cNvSpPr>
            <a:spLocks noGrp="1"/>
          </p:cNvSpPr>
          <p:nvPr>
            <p:ph type="pic" sz="quarter" idx="12"/>
          </p:nvPr>
        </p:nvSpPr>
        <p:spPr>
          <a:xfrm>
            <a:off x="10213939" y="0"/>
            <a:ext cx="1600000" cy="1263600"/>
          </a:xfrm>
        </p:spPr>
        <p:txBody>
          <a:bodyPr anchor="ctr" anchorCtr="0"/>
          <a:lstStyle>
            <a:lvl1pPr marL="0" indent="0" algn="r">
              <a:buNone/>
              <a:defRPr>
                <a:solidFill>
                  <a:schemeClr val="tx1"/>
                </a:solidFill>
              </a:defRPr>
            </a:lvl1pPr>
          </a:lstStyle>
          <a:p>
            <a:r>
              <a:rPr lang="en-US" dirty="0"/>
              <a:t>Click icon to add picture</a:t>
            </a:r>
          </a:p>
        </p:txBody>
      </p:sp>
      <p:sp>
        <p:nvSpPr>
          <p:cNvPr id="15" name="Rectangle 14">
            <a:extLst>
              <a:ext uri="{FF2B5EF4-FFF2-40B4-BE49-F238E27FC236}">
                <a16:creationId xmlns:a16="http://schemas.microsoft.com/office/drawing/2014/main" id="{488D16FF-04F3-CF4D-826E-036D95262513}"/>
              </a:ext>
            </a:extLst>
          </p:cNvPr>
          <p:cNvSpPr/>
          <p:nvPr userDrawn="1"/>
        </p:nvSpPr>
        <p:spPr>
          <a:xfrm>
            <a:off x="1" y="1260000"/>
            <a:ext cx="11833200" cy="5047200"/>
          </a:xfrm>
          <a:prstGeom prst="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algn="ctr"/>
            <a:endParaRPr lang="en-US" dirty="0"/>
          </a:p>
        </p:txBody>
      </p:sp>
      <p:sp>
        <p:nvSpPr>
          <p:cNvPr id="16" name="ROBUST SANDBOX">
            <a:extLst>
              <a:ext uri="{FF2B5EF4-FFF2-40B4-BE49-F238E27FC236}">
                <a16:creationId xmlns:a16="http://schemas.microsoft.com/office/drawing/2014/main" id="{F02B94EE-1770-894C-9784-CF44654988C3}"/>
              </a:ext>
            </a:extLst>
          </p:cNvPr>
          <p:cNvSpPr txBox="1"/>
          <p:nvPr userDrawn="1"/>
        </p:nvSpPr>
        <p:spPr>
          <a:xfrm>
            <a:off x="4251600" y="1382103"/>
            <a:ext cx="3671999" cy="5400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kumimoji="0" lang="en-US" b="1" u="none" strike="noStrike" kern="1200" cap="none" normalizeH="0" noProof="0" dirty="0">
                <a:ln>
                  <a:noFill/>
                </a:ln>
                <a:solidFill>
                  <a:schemeClr val="bg1"/>
                </a:solidFill>
                <a:effectLst/>
                <a:uLnTx/>
                <a:uFillTx/>
                <a:latin typeface="+mj-lt"/>
                <a:cs typeface="Arial Black" panose="020B0604020202020204" pitchFamily="34" charset="0"/>
              </a:rPr>
              <a:t>Solutions</a:t>
            </a:r>
          </a:p>
        </p:txBody>
      </p:sp>
      <p:sp>
        <p:nvSpPr>
          <p:cNvPr id="17" name="MODULAR">
            <a:extLst>
              <a:ext uri="{FF2B5EF4-FFF2-40B4-BE49-F238E27FC236}">
                <a16:creationId xmlns:a16="http://schemas.microsoft.com/office/drawing/2014/main" id="{8BB3C91B-CFB7-4048-B73A-10F6FB3F6810}"/>
              </a:ext>
            </a:extLst>
          </p:cNvPr>
          <p:cNvSpPr txBox="1"/>
          <p:nvPr userDrawn="1"/>
        </p:nvSpPr>
        <p:spPr>
          <a:xfrm>
            <a:off x="360000" y="1382400"/>
            <a:ext cx="3671999" cy="5400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bg1"/>
                </a:solidFill>
                <a:latin typeface="+mj-lt"/>
                <a:cs typeface="Arial Black" panose="020B0604020202020204" pitchFamily="34" charset="0"/>
              </a:rPr>
              <a:t>Challenges</a:t>
            </a:r>
          </a:p>
        </p:txBody>
      </p:sp>
      <p:sp>
        <p:nvSpPr>
          <p:cNvPr id="18" name="ROBUST SANDBOX">
            <a:extLst>
              <a:ext uri="{FF2B5EF4-FFF2-40B4-BE49-F238E27FC236}">
                <a16:creationId xmlns:a16="http://schemas.microsoft.com/office/drawing/2014/main" id="{2BB39154-C0A6-4C46-B72F-40AF2E2BEF14}"/>
              </a:ext>
            </a:extLst>
          </p:cNvPr>
          <p:cNvSpPr txBox="1"/>
          <p:nvPr userDrawn="1"/>
        </p:nvSpPr>
        <p:spPr>
          <a:xfrm>
            <a:off x="8143200" y="1382400"/>
            <a:ext cx="3492000" cy="5400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0" rIns="0" bIns="72000" anchor="ctr"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b="1" dirty="0">
                <a:solidFill>
                  <a:schemeClr val="bg1"/>
                </a:solidFill>
                <a:latin typeface="+mj-lt"/>
                <a:cs typeface="Arial Black" panose="020B0604020202020204" pitchFamily="34" charset="0"/>
              </a:rPr>
              <a:t>Outcomes</a:t>
            </a:r>
          </a:p>
        </p:txBody>
      </p:sp>
      <p:cxnSp>
        <p:nvCxnSpPr>
          <p:cNvPr id="19" name="Straight Connector 18">
            <a:extLst>
              <a:ext uri="{FF2B5EF4-FFF2-40B4-BE49-F238E27FC236}">
                <a16:creationId xmlns:a16="http://schemas.microsoft.com/office/drawing/2014/main" id="{070A8238-3A12-AF4B-96FA-C304AA8A4BD1}"/>
              </a:ext>
            </a:extLst>
          </p:cNvPr>
          <p:cNvCxnSpPr>
            <a:cxnSpLocks/>
          </p:cNvCxnSpPr>
          <p:nvPr userDrawn="1"/>
        </p:nvCxnSpPr>
        <p:spPr>
          <a:xfrm>
            <a:off x="360000" y="1900800"/>
            <a:ext cx="36720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4AF62ED-781B-DA4D-B4B9-754E608B9176}"/>
              </a:ext>
            </a:extLst>
          </p:cNvPr>
          <p:cNvCxnSpPr>
            <a:cxnSpLocks/>
          </p:cNvCxnSpPr>
          <p:nvPr userDrawn="1"/>
        </p:nvCxnSpPr>
        <p:spPr>
          <a:xfrm>
            <a:off x="4251600" y="1899408"/>
            <a:ext cx="36720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5E095EA-1565-244F-8BF5-58785C25BCA0}"/>
              </a:ext>
            </a:extLst>
          </p:cNvPr>
          <p:cNvCxnSpPr>
            <a:cxnSpLocks/>
          </p:cNvCxnSpPr>
          <p:nvPr userDrawn="1"/>
        </p:nvCxnSpPr>
        <p:spPr>
          <a:xfrm>
            <a:off x="8143199" y="1899408"/>
            <a:ext cx="34920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24">
            <a:extLst>
              <a:ext uri="{FF2B5EF4-FFF2-40B4-BE49-F238E27FC236}">
                <a16:creationId xmlns:a16="http://schemas.microsoft.com/office/drawing/2014/main" id="{1DB0952F-6F70-034C-8F43-2DB7A8735F07}"/>
              </a:ext>
            </a:extLst>
          </p:cNvPr>
          <p:cNvSpPr>
            <a:spLocks noGrp="1"/>
          </p:cNvSpPr>
          <p:nvPr>
            <p:ph type="body" sz="quarter" idx="14" hasCustomPrompt="1"/>
          </p:nvPr>
        </p:nvSpPr>
        <p:spPr>
          <a:xfrm>
            <a:off x="4251600" y="2102400"/>
            <a:ext cx="3675600" cy="4050000"/>
          </a:xfrm>
        </p:spPr>
        <p:txBody>
          <a:bodyPr>
            <a:normAutofit/>
          </a:bodyPr>
          <a:lstStyle>
            <a:lvl1pPr marL="172800" indent="-180000">
              <a:lnSpc>
                <a:spcPct val="110000"/>
              </a:lnSpc>
              <a:spcBef>
                <a:spcPts val="0"/>
              </a:spcBef>
              <a:spcAft>
                <a:spcPts val="1200"/>
              </a:spcAft>
              <a:buFont typeface="System Font Regular"/>
              <a:buChar char="\"/>
              <a:defRPr sz="1400">
                <a:solidFill>
                  <a:schemeClr val="bg1"/>
                </a:solidFill>
              </a:defRPr>
            </a:lvl1pPr>
            <a:lvl2pPr marL="360000" indent="0">
              <a:lnSpc>
                <a:spcPct val="110000"/>
              </a:lnSpc>
              <a:spcBef>
                <a:spcPts val="0"/>
              </a:spcBef>
              <a:spcAft>
                <a:spcPts val="1200"/>
              </a:spcAft>
              <a:buNone/>
              <a:defRPr sz="1400">
                <a:solidFill>
                  <a:schemeClr val="tx1"/>
                </a:solidFill>
              </a:defRPr>
            </a:lvl2pPr>
          </a:lstStyle>
          <a:p>
            <a:pPr lvl="0"/>
            <a:r>
              <a:rPr lang="en-GB"/>
              <a:t>Click to edit master text styles</a:t>
            </a:r>
          </a:p>
          <a:p>
            <a:pPr lvl="0"/>
            <a:endParaRPr lang="en-GB"/>
          </a:p>
        </p:txBody>
      </p:sp>
      <p:sp>
        <p:nvSpPr>
          <p:cNvPr id="11" name="Text Placeholder 10">
            <a:extLst>
              <a:ext uri="{FF2B5EF4-FFF2-40B4-BE49-F238E27FC236}">
                <a16:creationId xmlns:a16="http://schemas.microsoft.com/office/drawing/2014/main" id="{33185859-63E4-5149-AA93-07B443766151}"/>
              </a:ext>
            </a:extLst>
          </p:cNvPr>
          <p:cNvSpPr>
            <a:spLocks noGrp="1"/>
          </p:cNvSpPr>
          <p:nvPr>
            <p:ph type="body" sz="quarter" idx="28" hasCustomPrompt="1"/>
          </p:nvPr>
        </p:nvSpPr>
        <p:spPr>
          <a:xfrm>
            <a:off x="358775" y="2101850"/>
            <a:ext cx="3675600" cy="4050000"/>
          </a:xfrm>
          <a:ln>
            <a:noFill/>
          </a:ln>
        </p:spPr>
        <p:txBody>
          <a:bodyPr>
            <a:normAutofit/>
          </a:bodyPr>
          <a:lstStyle>
            <a:lvl1pPr marL="172800" indent="-180000">
              <a:lnSpc>
                <a:spcPct val="110000"/>
              </a:lnSpc>
              <a:spcBef>
                <a:spcPts val="0"/>
              </a:spcBef>
              <a:spcAft>
                <a:spcPts val="1200"/>
              </a:spcAft>
              <a:buFont typeface="System Font Regular"/>
              <a:buChar char="\"/>
              <a:defRPr sz="1400">
                <a:solidFill>
                  <a:schemeClr val="bg1"/>
                </a:solidFill>
              </a:defRPr>
            </a:lvl1pPr>
            <a:lvl2pPr marL="172800">
              <a:lnSpc>
                <a:spcPct val="110000"/>
              </a:lnSpc>
              <a:spcBef>
                <a:spcPts val="0"/>
              </a:spcBef>
              <a:spcAft>
                <a:spcPts val="1200"/>
              </a:spcAft>
              <a:defRPr sz="1400">
                <a:solidFill>
                  <a:schemeClr val="tx1"/>
                </a:solidFill>
              </a:defRPr>
            </a:lvl2pPr>
            <a:lvl3pPr marL="172800">
              <a:lnSpc>
                <a:spcPct val="110000"/>
              </a:lnSpc>
              <a:spcBef>
                <a:spcPts val="0"/>
              </a:spcBef>
              <a:spcAft>
                <a:spcPts val="1200"/>
              </a:spcAft>
              <a:defRPr sz="1400">
                <a:solidFill>
                  <a:schemeClr val="tx1"/>
                </a:solidFill>
              </a:defRPr>
            </a:lvl3pPr>
            <a:lvl4pPr marL="172800">
              <a:lnSpc>
                <a:spcPct val="110000"/>
              </a:lnSpc>
              <a:spcBef>
                <a:spcPts val="0"/>
              </a:spcBef>
              <a:spcAft>
                <a:spcPts val="1200"/>
              </a:spcAft>
              <a:defRPr sz="1400">
                <a:solidFill>
                  <a:schemeClr val="tx1"/>
                </a:solidFill>
              </a:defRPr>
            </a:lvl4pPr>
            <a:lvl5pPr marL="172800">
              <a:lnSpc>
                <a:spcPct val="110000"/>
              </a:lnSpc>
              <a:spcBef>
                <a:spcPts val="0"/>
              </a:spcBef>
              <a:spcAft>
                <a:spcPts val="1200"/>
              </a:spcAft>
              <a:defRPr sz="1400">
                <a:solidFill>
                  <a:schemeClr val="tx1"/>
                </a:solidFill>
              </a:defRPr>
            </a:lvl5pPr>
          </a:lstStyle>
          <a:p>
            <a:pPr lvl="0"/>
            <a:r>
              <a:rPr lang="en-GB"/>
              <a:t>Click to edit master text styles</a:t>
            </a:r>
          </a:p>
        </p:txBody>
      </p:sp>
      <p:sp>
        <p:nvSpPr>
          <p:cNvPr id="27" name="Text Placeholder 32">
            <a:extLst>
              <a:ext uri="{FF2B5EF4-FFF2-40B4-BE49-F238E27FC236}">
                <a16:creationId xmlns:a16="http://schemas.microsoft.com/office/drawing/2014/main" id="{60DAF070-05AA-B04C-8FCA-4BDE3A97070C}"/>
              </a:ext>
            </a:extLst>
          </p:cNvPr>
          <p:cNvSpPr>
            <a:spLocks noGrp="1"/>
          </p:cNvSpPr>
          <p:nvPr>
            <p:ph type="body" sz="quarter" idx="16" hasCustomPrompt="1"/>
          </p:nvPr>
        </p:nvSpPr>
        <p:spPr>
          <a:xfrm>
            <a:off x="8143199" y="2102400"/>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28" name="Text Placeholder 32">
            <a:extLst>
              <a:ext uri="{FF2B5EF4-FFF2-40B4-BE49-F238E27FC236}">
                <a16:creationId xmlns:a16="http://schemas.microsoft.com/office/drawing/2014/main" id="{4CFB2B49-7091-F148-B8FB-C9D4DAA93A7B}"/>
              </a:ext>
            </a:extLst>
          </p:cNvPr>
          <p:cNvSpPr>
            <a:spLocks noGrp="1"/>
          </p:cNvSpPr>
          <p:nvPr>
            <p:ph type="body" sz="quarter" idx="17" hasCustomPrompt="1"/>
          </p:nvPr>
        </p:nvSpPr>
        <p:spPr>
          <a:xfrm>
            <a:off x="8143200" y="2484000"/>
            <a:ext cx="3492000" cy="360000"/>
          </a:xfrm>
          <a:solidFill>
            <a:schemeClr val="tx1">
              <a:lumMod val="90000"/>
              <a:lumOff val="10000"/>
            </a:schemeClr>
          </a:solidFill>
          <a:effectLst>
            <a:outerShdw dist="12700" dir="5400000" algn="t" rotWithShape="0">
              <a:schemeClr val="tx1">
                <a:lumMod val="75000"/>
                <a:lumOff val="25000"/>
              </a:schemeClr>
            </a:outerShdw>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
        <p:nvSpPr>
          <p:cNvPr id="29" name="Text Placeholder 32">
            <a:extLst>
              <a:ext uri="{FF2B5EF4-FFF2-40B4-BE49-F238E27FC236}">
                <a16:creationId xmlns:a16="http://schemas.microsoft.com/office/drawing/2014/main" id="{48F08C5E-C4FD-0B42-BED3-CB5C9B5D8FD2}"/>
              </a:ext>
            </a:extLst>
          </p:cNvPr>
          <p:cNvSpPr>
            <a:spLocks noGrp="1"/>
          </p:cNvSpPr>
          <p:nvPr>
            <p:ph type="body" sz="quarter" idx="29" hasCustomPrompt="1"/>
          </p:nvPr>
        </p:nvSpPr>
        <p:spPr>
          <a:xfrm>
            <a:off x="8143199" y="3210767"/>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30" name="Text Placeholder 32">
            <a:extLst>
              <a:ext uri="{FF2B5EF4-FFF2-40B4-BE49-F238E27FC236}">
                <a16:creationId xmlns:a16="http://schemas.microsoft.com/office/drawing/2014/main" id="{364B17F9-76DC-364B-BEBB-C53EE52CABC4}"/>
              </a:ext>
            </a:extLst>
          </p:cNvPr>
          <p:cNvSpPr>
            <a:spLocks noGrp="1"/>
          </p:cNvSpPr>
          <p:nvPr>
            <p:ph type="body" sz="quarter" idx="30" hasCustomPrompt="1"/>
          </p:nvPr>
        </p:nvSpPr>
        <p:spPr>
          <a:xfrm>
            <a:off x="8143200" y="3592367"/>
            <a:ext cx="3492000" cy="360000"/>
          </a:xfrm>
          <a:solidFill>
            <a:schemeClr val="tx1">
              <a:lumMod val="90000"/>
              <a:lumOff val="10000"/>
            </a:schemeClr>
          </a:solidFill>
          <a:effectLst>
            <a:outerShdw dist="12700" dir="5400000" algn="t" rotWithShape="0">
              <a:schemeClr val="tx1">
                <a:lumMod val="75000"/>
                <a:lumOff val="25000"/>
              </a:schemeClr>
            </a:outerShdw>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
        <p:nvSpPr>
          <p:cNvPr id="31" name="Text Placeholder 32">
            <a:extLst>
              <a:ext uri="{FF2B5EF4-FFF2-40B4-BE49-F238E27FC236}">
                <a16:creationId xmlns:a16="http://schemas.microsoft.com/office/drawing/2014/main" id="{8958A6E2-271B-024C-981F-C333CDE3ACF8}"/>
              </a:ext>
            </a:extLst>
          </p:cNvPr>
          <p:cNvSpPr>
            <a:spLocks noGrp="1"/>
          </p:cNvSpPr>
          <p:nvPr>
            <p:ph type="body" sz="quarter" idx="31" hasCustomPrompt="1"/>
          </p:nvPr>
        </p:nvSpPr>
        <p:spPr>
          <a:xfrm>
            <a:off x="8143199" y="4308004"/>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32" name="Text Placeholder 32">
            <a:extLst>
              <a:ext uri="{FF2B5EF4-FFF2-40B4-BE49-F238E27FC236}">
                <a16:creationId xmlns:a16="http://schemas.microsoft.com/office/drawing/2014/main" id="{6B6A7124-80E6-DA41-994E-ECF77124BEB2}"/>
              </a:ext>
            </a:extLst>
          </p:cNvPr>
          <p:cNvSpPr>
            <a:spLocks noGrp="1"/>
          </p:cNvSpPr>
          <p:nvPr>
            <p:ph type="body" sz="quarter" idx="32" hasCustomPrompt="1"/>
          </p:nvPr>
        </p:nvSpPr>
        <p:spPr>
          <a:xfrm>
            <a:off x="8143200" y="4689604"/>
            <a:ext cx="3492000" cy="360000"/>
          </a:xfrm>
          <a:solidFill>
            <a:schemeClr val="tx1">
              <a:lumMod val="90000"/>
              <a:lumOff val="10000"/>
            </a:schemeClr>
          </a:solidFill>
          <a:effectLst>
            <a:outerShdw dist="12700" dir="5400000" algn="t" rotWithShape="0">
              <a:schemeClr val="tx1">
                <a:lumMod val="75000"/>
                <a:lumOff val="25000"/>
              </a:schemeClr>
            </a:outerShdw>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
        <p:nvSpPr>
          <p:cNvPr id="42" name="Text Placeholder 32">
            <a:extLst>
              <a:ext uri="{FF2B5EF4-FFF2-40B4-BE49-F238E27FC236}">
                <a16:creationId xmlns:a16="http://schemas.microsoft.com/office/drawing/2014/main" id="{10217677-975E-934B-AE98-E4E82E52AEB1}"/>
              </a:ext>
            </a:extLst>
          </p:cNvPr>
          <p:cNvSpPr>
            <a:spLocks noGrp="1"/>
          </p:cNvSpPr>
          <p:nvPr>
            <p:ph type="body" sz="quarter" idx="33" hasCustomPrompt="1"/>
          </p:nvPr>
        </p:nvSpPr>
        <p:spPr>
          <a:xfrm>
            <a:off x="8143199" y="5405241"/>
            <a:ext cx="3492000" cy="342000"/>
          </a:xfrm>
        </p:spPr>
        <p:txBody>
          <a:bodyPr anchor="b" anchorCtr="0">
            <a:normAutofit/>
          </a:bodyPr>
          <a:lstStyle>
            <a:lvl1pPr marL="0" indent="0">
              <a:buNone/>
              <a:defRPr sz="1800" b="1" i="0">
                <a:solidFill>
                  <a:schemeClr val="accent1"/>
                </a:solidFill>
                <a:latin typeface="Arial Black" panose="020B0604020202020204" pitchFamily="34" charset="0"/>
                <a:cs typeface="Arial Black" panose="020B0604020202020204" pitchFamily="34" charset="0"/>
              </a:defRPr>
            </a:lvl1pPr>
            <a:lvl2pPr>
              <a:defRPr>
                <a:solidFill>
                  <a:sysClr val="windowText" lastClr="000000"/>
                </a:solidFill>
              </a:defRPr>
            </a:lvl2pPr>
          </a:lstStyle>
          <a:p>
            <a:pPr lvl="0"/>
            <a:r>
              <a:rPr lang="en-GB"/>
              <a:t>Datapoint</a:t>
            </a:r>
          </a:p>
        </p:txBody>
      </p:sp>
      <p:sp>
        <p:nvSpPr>
          <p:cNvPr id="43" name="Text Placeholder 32">
            <a:extLst>
              <a:ext uri="{FF2B5EF4-FFF2-40B4-BE49-F238E27FC236}">
                <a16:creationId xmlns:a16="http://schemas.microsoft.com/office/drawing/2014/main" id="{2EB882D6-149E-034C-86D5-36ADD25FC9D9}"/>
              </a:ext>
            </a:extLst>
          </p:cNvPr>
          <p:cNvSpPr>
            <a:spLocks noGrp="1"/>
          </p:cNvSpPr>
          <p:nvPr>
            <p:ph type="body" sz="quarter" idx="34" hasCustomPrompt="1"/>
          </p:nvPr>
        </p:nvSpPr>
        <p:spPr>
          <a:xfrm>
            <a:off x="8143200" y="5786841"/>
            <a:ext cx="3492000" cy="360000"/>
          </a:xfrm>
          <a:solidFill>
            <a:schemeClr val="tx1">
              <a:lumMod val="90000"/>
              <a:lumOff val="10000"/>
            </a:schemeClr>
          </a:solidFill>
          <a:effectLst/>
        </p:spPr>
        <p:txBody>
          <a:bodyPr anchor="t" anchorCtr="0">
            <a:normAutofit/>
          </a:bodyPr>
          <a:lstStyle>
            <a:lvl1pPr marL="0" indent="0">
              <a:buNone/>
              <a:defRPr sz="1400" b="0" i="0">
                <a:solidFill>
                  <a:schemeClr val="bg1"/>
                </a:solidFill>
                <a:latin typeface="+mn-lt"/>
                <a:cs typeface="Arial Black" panose="020B0604020202020204" pitchFamily="34" charset="0"/>
              </a:defRPr>
            </a:lvl1pPr>
            <a:lvl2pPr>
              <a:defRPr>
                <a:solidFill>
                  <a:sysClr val="windowText" lastClr="000000"/>
                </a:solidFill>
              </a:defRPr>
            </a:lvl2pPr>
          </a:lstStyle>
          <a:p>
            <a:pPr lvl="0"/>
            <a:r>
              <a:rPr lang="en-GB"/>
              <a:t>text</a:t>
            </a:r>
          </a:p>
        </p:txBody>
      </p:sp>
    </p:spTree>
    <p:extLst>
      <p:ext uri="{BB962C8B-B14F-4D97-AF65-F5344CB8AC3E}">
        <p14:creationId xmlns:p14="http://schemas.microsoft.com/office/powerpoint/2010/main" val="284085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ient Relationship Overview ">
    <p:bg>
      <p:bgPr>
        <a:solidFill>
          <a:schemeClr val="tx1"/>
        </a:solidFill>
        <a:effectLst/>
      </p:bgPr>
    </p:bg>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58B0D6B-33C5-F046-8C34-054E76A585D0}"/>
              </a:ext>
            </a:extLst>
          </p:cNvPr>
          <p:cNvSpPr/>
          <p:nvPr userDrawn="1"/>
        </p:nvSpPr>
        <p:spPr>
          <a:xfrm>
            <a:off x="360000" y="1658996"/>
            <a:ext cx="3823200" cy="162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2" name="Title 1">
            <a:extLst>
              <a:ext uri="{FF2B5EF4-FFF2-40B4-BE49-F238E27FC236}">
                <a16:creationId xmlns:a16="http://schemas.microsoft.com/office/drawing/2014/main" id="{7760C7AB-17FB-2E45-8A14-F90B3CEE6E6D}"/>
              </a:ext>
            </a:extLst>
          </p:cNvPr>
          <p:cNvSpPr>
            <a:spLocks noGrp="1"/>
          </p:cNvSpPr>
          <p:nvPr>
            <p:ph type="title"/>
          </p:nvPr>
        </p:nvSpPr>
        <p:spPr>
          <a:xfrm>
            <a:off x="360000" y="0"/>
            <a:ext cx="9648000" cy="1263600"/>
          </a:xfrm>
        </p:spPr>
        <p:txBody>
          <a:bodyPr anchor="ctr" anchorCtr="0"/>
          <a:lstStyle>
            <a:lvl1pPr>
              <a:lnSpc>
                <a:spcPct val="100000"/>
              </a:lnSpc>
              <a:defRPr sz="2400" b="1" i="0" spc="-150" baseline="0">
                <a:solidFill>
                  <a:schemeClr val="bg2"/>
                </a:solidFill>
                <a:latin typeface="Arial Black" panose="020B0604020202020204" pitchFamily="34" charset="0"/>
                <a:cs typeface="Arial Black" panose="020B0604020202020204" pitchFamily="34" charset="0"/>
              </a:defRPr>
            </a:lvl1pPr>
          </a:lstStyle>
          <a:p>
            <a:r>
              <a:rPr lang="en-US"/>
              <a:t>Click to edit Master title style</a:t>
            </a:r>
            <a:endParaRPr lang="ar-SA"/>
          </a:p>
        </p:txBody>
      </p:sp>
      <p:sp>
        <p:nvSpPr>
          <p:cNvPr id="3" name="Slide Number Placeholder 2">
            <a:extLst>
              <a:ext uri="{FF2B5EF4-FFF2-40B4-BE49-F238E27FC236}">
                <a16:creationId xmlns:a16="http://schemas.microsoft.com/office/drawing/2014/main" id="{D44B9958-9D04-3F4A-A81F-8BA79836EFF0}"/>
              </a:ext>
            </a:extLst>
          </p:cNvPr>
          <p:cNvSpPr>
            <a:spLocks noGrp="1"/>
          </p:cNvSpPr>
          <p:nvPr>
            <p:ph type="sldNum" sz="quarter" idx="10"/>
          </p:nvPr>
        </p:nvSpPr>
        <p:spPr/>
        <p:txBody>
          <a:bodyPr/>
          <a:lstStyle/>
          <a:p>
            <a:fld id="{9A0F7689-66CB-EC4F-9B5C-9C3D3ED1F24F}" type="slidenum">
              <a:rPr lang="en-US" smtClean="0"/>
              <a:pPr/>
              <a:t>‹#›</a:t>
            </a:fld>
            <a:endParaRPr lang="en-US" dirty="0"/>
          </a:p>
        </p:txBody>
      </p:sp>
      <p:sp>
        <p:nvSpPr>
          <p:cNvPr id="8" name="Picture Placeholder 15">
            <a:extLst>
              <a:ext uri="{FF2B5EF4-FFF2-40B4-BE49-F238E27FC236}">
                <a16:creationId xmlns:a16="http://schemas.microsoft.com/office/drawing/2014/main" id="{AB8D3942-DD43-364C-9A77-FBC6C40762E4}"/>
              </a:ext>
            </a:extLst>
          </p:cNvPr>
          <p:cNvSpPr>
            <a:spLocks noGrp="1"/>
          </p:cNvSpPr>
          <p:nvPr>
            <p:ph type="pic" sz="quarter" idx="12"/>
          </p:nvPr>
        </p:nvSpPr>
        <p:spPr>
          <a:xfrm>
            <a:off x="10213939" y="0"/>
            <a:ext cx="1598400" cy="1263600"/>
          </a:xfrm>
        </p:spPr>
        <p:txBody>
          <a:bodyPr anchor="ctr" anchorCtr="0"/>
          <a:lstStyle>
            <a:lvl1pPr marL="0" indent="0" algn="r">
              <a:buNone/>
              <a:defRPr/>
            </a:lvl1pPr>
          </a:lstStyle>
          <a:p>
            <a:r>
              <a:rPr lang="en-US" dirty="0"/>
              <a:t>Click icon to add picture</a:t>
            </a:r>
          </a:p>
        </p:txBody>
      </p:sp>
      <p:sp>
        <p:nvSpPr>
          <p:cNvPr id="17" name="MODULAR">
            <a:extLst>
              <a:ext uri="{FF2B5EF4-FFF2-40B4-BE49-F238E27FC236}">
                <a16:creationId xmlns:a16="http://schemas.microsoft.com/office/drawing/2014/main" id="{8BB3C91B-CFB7-4048-B73A-10F6FB3F6810}"/>
              </a:ext>
            </a:extLst>
          </p:cNvPr>
          <p:cNvSpPr txBox="1"/>
          <p:nvPr userDrawn="1"/>
        </p:nvSpPr>
        <p:spPr>
          <a:xfrm>
            <a:off x="359999" y="1191600"/>
            <a:ext cx="3823200" cy="4572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144000" rIns="144000" bIns="72000" anchor="b"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sz="1600" b="1" dirty="0">
                <a:solidFill>
                  <a:schemeClr val="bg1"/>
                </a:solidFill>
                <a:latin typeface="+mj-lt"/>
                <a:cs typeface="Arial Black" panose="020B0604020202020204" pitchFamily="34" charset="0"/>
              </a:rPr>
              <a:t>Partnership Overview</a:t>
            </a:r>
          </a:p>
        </p:txBody>
      </p:sp>
      <p:sp>
        <p:nvSpPr>
          <p:cNvPr id="11" name="Text Placeholder 10">
            <a:extLst>
              <a:ext uri="{FF2B5EF4-FFF2-40B4-BE49-F238E27FC236}">
                <a16:creationId xmlns:a16="http://schemas.microsoft.com/office/drawing/2014/main" id="{33185859-63E4-5149-AA93-07B443766151}"/>
              </a:ext>
            </a:extLst>
          </p:cNvPr>
          <p:cNvSpPr>
            <a:spLocks noGrp="1"/>
          </p:cNvSpPr>
          <p:nvPr>
            <p:ph type="body" sz="quarter" idx="28"/>
          </p:nvPr>
        </p:nvSpPr>
        <p:spPr>
          <a:xfrm>
            <a:off x="358775" y="1658996"/>
            <a:ext cx="3823200" cy="1627200"/>
          </a:xfrm>
          <a:noFill/>
          <a:ln>
            <a:noFill/>
          </a:ln>
        </p:spPr>
        <p:txBody>
          <a:bodyPr lIns="144000" tIns="144000" rIns="144000" bIns="108000">
            <a:normAutofit/>
          </a:bodyPr>
          <a:lstStyle>
            <a:lvl1pPr marL="172800" indent="-172800">
              <a:lnSpc>
                <a:spcPct val="120000"/>
              </a:lnSpc>
              <a:spcBef>
                <a:spcPts val="300"/>
              </a:spcBef>
              <a:spcAft>
                <a:spcPts val="0"/>
              </a:spcAft>
              <a:buFont typeface="System Font Regular"/>
              <a:buChar char="\"/>
              <a:defRPr sz="1200">
                <a:solidFill>
                  <a:schemeClr val="tx2"/>
                </a:solidFill>
              </a:defRPr>
            </a:lvl1pPr>
            <a:lvl2pPr marL="172800">
              <a:lnSpc>
                <a:spcPct val="110000"/>
              </a:lnSpc>
              <a:spcBef>
                <a:spcPts val="0"/>
              </a:spcBef>
              <a:spcAft>
                <a:spcPts val="1200"/>
              </a:spcAft>
              <a:defRPr sz="1400">
                <a:solidFill>
                  <a:schemeClr val="tx1"/>
                </a:solidFill>
              </a:defRPr>
            </a:lvl2pPr>
            <a:lvl3pPr marL="172800">
              <a:lnSpc>
                <a:spcPct val="110000"/>
              </a:lnSpc>
              <a:spcBef>
                <a:spcPts val="0"/>
              </a:spcBef>
              <a:spcAft>
                <a:spcPts val="1200"/>
              </a:spcAft>
              <a:defRPr sz="1400">
                <a:solidFill>
                  <a:schemeClr val="tx1"/>
                </a:solidFill>
              </a:defRPr>
            </a:lvl3pPr>
            <a:lvl4pPr marL="172800">
              <a:lnSpc>
                <a:spcPct val="110000"/>
              </a:lnSpc>
              <a:spcBef>
                <a:spcPts val="0"/>
              </a:spcBef>
              <a:spcAft>
                <a:spcPts val="1200"/>
              </a:spcAft>
              <a:defRPr sz="1400">
                <a:solidFill>
                  <a:schemeClr val="tx1"/>
                </a:solidFill>
              </a:defRPr>
            </a:lvl4pPr>
            <a:lvl5pPr marL="172800">
              <a:lnSpc>
                <a:spcPct val="110000"/>
              </a:lnSpc>
              <a:spcBef>
                <a:spcPts val="0"/>
              </a:spcBef>
              <a:spcAft>
                <a:spcPts val="1200"/>
              </a:spcAft>
              <a:defRPr sz="1400">
                <a:solidFill>
                  <a:schemeClr val="tx1"/>
                </a:solidFill>
              </a:defRPr>
            </a:lvl5pPr>
          </a:lstStyle>
          <a:p>
            <a:pPr lvl="0"/>
            <a:r>
              <a:rPr lang="en-US"/>
              <a:t>Click to edit Master text styles</a:t>
            </a:r>
          </a:p>
        </p:txBody>
      </p:sp>
      <p:sp>
        <p:nvSpPr>
          <p:cNvPr id="22" name="MODULAR">
            <a:extLst>
              <a:ext uri="{FF2B5EF4-FFF2-40B4-BE49-F238E27FC236}">
                <a16:creationId xmlns:a16="http://schemas.microsoft.com/office/drawing/2014/main" id="{F56ECA0B-A7BF-994C-9CB5-28BA979F20DA}"/>
              </a:ext>
            </a:extLst>
          </p:cNvPr>
          <p:cNvSpPr txBox="1"/>
          <p:nvPr userDrawn="1"/>
        </p:nvSpPr>
        <p:spPr>
          <a:xfrm>
            <a:off x="4185603" y="1191600"/>
            <a:ext cx="3823200" cy="4572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144000" rIns="144000" bIns="72000" anchor="b"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sz="1600" b="1" dirty="0">
                <a:solidFill>
                  <a:schemeClr val="bg1"/>
                </a:solidFill>
                <a:latin typeface="+mj-lt"/>
                <a:cs typeface="Arial Black" panose="020B0604020202020204" pitchFamily="34" charset="0"/>
              </a:rPr>
              <a:t>By the Numbers</a:t>
            </a:r>
          </a:p>
        </p:txBody>
      </p:sp>
      <p:sp>
        <p:nvSpPr>
          <p:cNvPr id="23" name="MODULAR">
            <a:extLst>
              <a:ext uri="{FF2B5EF4-FFF2-40B4-BE49-F238E27FC236}">
                <a16:creationId xmlns:a16="http://schemas.microsoft.com/office/drawing/2014/main" id="{DC63C15C-BD80-EA48-BB60-83355278FB08}"/>
              </a:ext>
            </a:extLst>
          </p:cNvPr>
          <p:cNvSpPr txBox="1"/>
          <p:nvPr userDrawn="1"/>
        </p:nvSpPr>
        <p:spPr>
          <a:xfrm>
            <a:off x="8008803" y="1191600"/>
            <a:ext cx="3823200" cy="4572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144000" rIns="144000" bIns="72000" anchor="b"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sz="1600" b="1" dirty="0">
                <a:solidFill>
                  <a:schemeClr val="bg1"/>
                </a:solidFill>
                <a:latin typeface="+mj-lt"/>
                <a:cs typeface="Arial Black" panose="020B0604020202020204" pitchFamily="34" charset="0"/>
              </a:rPr>
              <a:t>Path Forward</a:t>
            </a:r>
          </a:p>
        </p:txBody>
      </p:sp>
      <p:sp>
        <p:nvSpPr>
          <p:cNvPr id="4" name="Rectangle 3">
            <a:extLst>
              <a:ext uri="{FF2B5EF4-FFF2-40B4-BE49-F238E27FC236}">
                <a16:creationId xmlns:a16="http://schemas.microsoft.com/office/drawing/2014/main" id="{99E1805A-9021-CC43-A360-C95110142104}"/>
              </a:ext>
            </a:extLst>
          </p:cNvPr>
          <p:cNvSpPr/>
          <p:nvPr userDrawn="1"/>
        </p:nvSpPr>
        <p:spPr>
          <a:xfrm>
            <a:off x="4183197" y="1658996"/>
            <a:ext cx="3823200" cy="162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 name="Text Placeholder 5">
            <a:extLst>
              <a:ext uri="{FF2B5EF4-FFF2-40B4-BE49-F238E27FC236}">
                <a16:creationId xmlns:a16="http://schemas.microsoft.com/office/drawing/2014/main" id="{E21B2A0E-0CB5-CD47-AAB5-80FF5B0DA103}"/>
              </a:ext>
            </a:extLst>
          </p:cNvPr>
          <p:cNvSpPr>
            <a:spLocks noGrp="1"/>
          </p:cNvSpPr>
          <p:nvPr>
            <p:ph type="body" sz="quarter" idx="35" hasCustomPrompt="1"/>
          </p:nvPr>
        </p:nvSpPr>
        <p:spPr>
          <a:xfrm>
            <a:off x="4183197" y="1692000"/>
            <a:ext cx="1911600" cy="329252"/>
          </a:xfrm>
        </p:spPr>
        <p:txBody>
          <a:bodyPr lIns="144000" tIns="36000" anchor="b" anchorCtr="0">
            <a:spAutoFit/>
          </a:bodyPr>
          <a:lstStyle>
            <a:lvl1pPr marL="0" indent="0">
              <a:buNone/>
              <a:defRPr sz="17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Numbers</a:t>
            </a:r>
            <a:endParaRPr lang="ar-SA"/>
          </a:p>
        </p:txBody>
      </p:sp>
      <p:sp>
        <p:nvSpPr>
          <p:cNvPr id="28" name="Text Placeholder 5">
            <a:extLst>
              <a:ext uri="{FF2B5EF4-FFF2-40B4-BE49-F238E27FC236}">
                <a16:creationId xmlns:a16="http://schemas.microsoft.com/office/drawing/2014/main" id="{C66D6D12-7A19-0D4A-BB8B-0192E0FCF43C}"/>
              </a:ext>
            </a:extLst>
          </p:cNvPr>
          <p:cNvSpPr>
            <a:spLocks noGrp="1"/>
          </p:cNvSpPr>
          <p:nvPr>
            <p:ph type="body" sz="quarter" idx="36" hasCustomPrompt="1"/>
          </p:nvPr>
        </p:nvSpPr>
        <p:spPr>
          <a:xfrm>
            <a:off x="4183197" y="1961617"/>
            <a:ext cx="1911600" cy="237560"/>
          </a:xfrm>
        </p:spPr>
        <p:txBody>
          <a:bodyPr lIns="144000" tIns="36000" anchor="b" anchorCtr="0">
            <a:spAutoFit/>
          </a:bodyPr>
          <a:lstStyle>
            <a:lvl1pPr marL="0" indent="0">
              <a:buNone/>
              <a:defRPr sz="120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39" name="Text Placeholder 5">
            <a:extLst>
              <a:ext uri="{FF2B5EF4-FFF2-40B4-BE49-F238E27FC236}">
                <a16:creationId xmlns:a16="http://schemas.microsoft.com/office/drawing/2014/main" id="{B7D96D7A-48CB-B447-A2FD-6E30FEEE5665}"/>
              </a:ext>
            </a:extLst>
          </p:cNvPr>
          <p:cNvSpPr>
            <a:spLocks noGrp="1"/>
          </p:cNvSpPr>
          <p:nvPr>
            <p:ph type="body" sz="quarter" idx="37" hasCustomPrompt="1"/>
          </p:nvPr>
        </p:nvSpPr>
        <p:spPr>
          <a:xfrm>
            <a:off x="4183197" y="2185648"/>
            <a:ext cx="1911600" cy="329252"/>
          </a:xfrm>
        </p:spPr>
        <p:txBody>
          <a:bodyPr lIns="144000" tIns="36000" anchor="b" anchorCtr="0">
            <a:spAutoFit/>
          </a:bodyPr>
          <a:lstStyle>
            <a:lvl1pPr marL="0" indent="0">
              <a:buNone/>
              <a:defRPr sz="17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Numbers</a:t>
            </a:r>
            <a:endParaRPr lang="ar-SA"/>
          </a:p>
        </p:txBody>
      </p:sp>
      <p:sp>
        <p:nvSpPr>
          <p:cNvPr id="40" name="Text Placeholder 5">
            <a:extLst>
              <a:ext uri="{FF2B5EF4-FFF2-40B4-BE49-F238E27FC236}">
                <a16:creationId xmlns:a16="http://schemas.microsoft.com/office/drawing/2014/main" id="{7983B739-5466-C145-B75A-CF0CB468F388}"/>
              </a:ext>
            </a:extLst>
          </p:cNvPr>
          <p:cNvSpPr>
            <a:spLocks noGrp="1"/>
          </p:cNvSpPr>
          <p:nvPr>
            <p:ph type="body" sz="quarter" idx="38" hasCustomPrompt="1"/>
          </p:nvPr>
        </p:nvSpPr>
        <p:spPr>
          <a:xfrm>
            <a:off x="4183197" y="2455647"/>
            <a:ext cx="1911600" cy="237560"/>
          </a:xfrm>
        </p:spPr>
        <p:txBody>
          <a:bodyPr lIns="144000" tIns="36000" anchor="b" anchorCtr="0">
            <a:spAutoFit/>
          </a:bodyPr>
          <a:lstStyle>
            <a:lvl1pPr marL="0" indent="0">
              <a:buNone/>
              <a:defRPr sz="120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41" name="Text Placeholder 5">
            <a:extLst>
              <a:ext uri="{FF2B5EF4-FFF2-40B4-BE49-F238E27FC236}">
                <a16:creationId xmlns:a16="http://schemas.microsoft.com/office/drawing/2014/main" id="{F463D416-A086-5C4D-A9B7-8F1376A79B04}"/>
              </a:ext>
            </a:extLst>
          </p:cNvPr>
          <p:cNvSpPr>
            <a:spLocks noGrp="1"/>
          </p:cNvSpPr>
          <p:nvPr>
            <p:ph type="body" sz="quarter" idx="39" hasCustomPrompt="1"/>
          </p:nvPr>
        </p:nvSpPr>
        <p:spPr>
          <a:xfrm>
            <a:off x="4183197" y="2667600"/>
            <a:ext cx="1911600" cy="329252"/>
          </a:xfrm>
        </p:spPr>
        <p:txBody>
          <a:bodyPr lIns="144000" tIns="36000" anchor="b" anchorCtr="0">
            <a:spAutoFit/>
          </a:bodyPr>
          <a:lstStyle>
            <a:lvl1pPr marL="0" indent="0">
              <a:buNone/>
              <a:defRPr sz="17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Numbers</a:t>
            </a:r>
            <a:endParaRPr lang="ar-SA"/>
          </a:p>
        </p:txBody>
      </p:sp>
      <p:sp>
        <p:nvSpPr>
          <p:cNvPr id="46" name="Text Placeholder 5">
            <a:extLst>
              <a:ext uri="{FF2B5EF4-FFF2-40B4-BE49-F238E27FC236}">
                <a16:creationId xmlns:a16="http://schemas.microsoft.com/office/drawing/2014/main" id="{43E35D16-DB44-494F-B16E-EBF37AB9D2E1}"/>
              </a:ext>
            </a:extLst>
          </p:cNvPr>
          <p:cNvSpPr>
            <a:spLocks noGrp="1"/>
          </p:cNvSpPr>
          <p:nvPr>
            <p:ph type="body" sz="quarter" idx="40" hasCustomPrompt="1"/>
          </p:nvPr>
        </p:nvSpPr>
        <p:spPr>
          <a:xfrm>
            <a:off x="4183197" y="2941759"/>
            <a:ext cx="1911600" cy="237560"/>
          </a:xfrm>
        </p:spPr>
        <p:txBody>
          <a:bodyPr lIns="144000" tIns="36000" anchor="b" anchorCtr="0">
            <a:spAutoFit/>
          </a:bodyPr>
          <a:lstStyle>
            <a:lvl1pPr marL="0" indent="0">
              <a:buNone/>
              <a:defRPr sz="120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53" name="Rectangle 52">
            <a:extLst>
              <a:ext uri="{FF2B5EF4-FFF2-40B4-BE49-F238E27FC236}">
                <a16:creationId xmlns:a16="http://schemas.microsoft.com/office/drawing/2014/main" id="{27ED384A-F3DC-CB46-878B-6A7C7079B35E}"/>
              </a:ext>
            </a:extLst>
          </p:cNvPr>
          <p:cNvSpPr/>
          <p:nvPr userDrawn="1"/>
        </p:nvSpPr>
        <p:spPr>
          <a:xfrm>
            <a:off x="8001091" y="1658996"/>
            <a:ext cx="1274400" cy="162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4" name="Rectangle 53">
            <a:extLst>
              <a:ext uri="{FF2B5EF4-FFF2-40B4-BE49-F238E27FC236}">
                <a16:creationId xmlns:a16="http://schemas.microsoft.com/office/drawing/2014/main" id="{3F39B6F3-298F-EC49-AE17-D9541B0F1F7B}"/>
              </a:ext>
            </a:extLst>
          </p:cNvPr>
          <p:cNvSpPr/>
          <p:nvPr userDrawn="1"/>
        </p:nvSpPr>
        <p:spPr>
          <a:xfrm>
            <a:off x="9274589" y="1658996"/>
            <a:ext cx="1274400" cy="1627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5" name="Rectangle 54">
            <a:extLst>
              <a:ext uri="{FF2B5EF4-FFF2-40B4-BE49-F238E27FC236}">
                <a16:creationId xmlns:a16="http://schemas.microsoft.com/office/drawing/2014/main" id="{54391D6D-EF14-4745-90DE-11DB21FCB07A}"/>
              </a:ext>
            </a:extLst>
          </p:cNvPr>
          <p:cNvSpPr/>
          <p:nvPr userDrawn="1"/>
        </p:nvSpPr>
        <p:spPr>
          <a:xfrm>
            <a:off x="10548087" y="1658996"/>
            <a:ext cx="1274400" cy="1627200"/>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57" name="Text Placeholder 5">
            <a:extLst>
              <a:ext uri="{FF2B5EF4-FFF2-40B4-BE49-F238E27FC236}">
                <a16:creationId xmlns:a16="http://schemas.microsoft.com/office/drawing/2014/main" id="{FDD58003-D323-6041-BBF0-68D78F3F42E9}"/>
              </a:ext>
            </a:extLst>
          </p:cNvPr>
          <p:cNvSpPr>
            <a:spLocks noGrp="1"/>
          </p:cNvSpPr>
          <p:nvPr>
            <p:ph type="body" sz="quarter" idx="48" hasCustomPrompt="1"/>
          </p:nvPr>
        </p:nvSpPr>
        <p:spPr>
          <a:xfrm>
            <a:off x="8001091" y="2101717"/>
            <a:ext cx="1270800" cy="1094332"/>
          </a:xfrm>
        </p:spPr>
        <p:txBody>
          <a:bodyPr lIns="144000" tIns="0" rIns="144000" anchor="t" anchorCtr="0">
            <a:noAutofit/>
          </a:bodyPr>
          <a:lstStyle>
            <a:lvl1pPr marL="0" indent="0">
              <a:buNone/>
              <a:defRPr sz="105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59" name="Text Placeholder 5">
            <a:extLst>
              <a:ext uri="{FF2B5EF4-FFF2-40B4-BE49-F238E27FC236}">
                <a16:creationId xmlns:a16="http://schemas.microsoft.com/office/drawing/2014/main" id="{17F731C8-5AA3-5B45-A08A-A9AAD3593A13}"/>
              </a:ext>
            </a:extLst>
          </p:cNvPr>
          <p:cNvSpPr>
            <a:spLocks noGrp="1"/>
          </p:cNvSpPr>
          <p:nvPr>
            <p:ph type="body" sz="quarter" idx="50" hasCustomPrompt="1"/>
          </p:nvPr>
        </p:nvSpPr>
        <p:spPr>
          <a:xfrm>
            <a:off x="9274589" y="2101717"/>
            <a:ext cx="1270800" cy="1094332"/>
          </a:xfrm>
        </p:spPr>
        <p:txBody>
          <a:bodyPr lIns="144000" tIns="0" rIns="144000" anchor="t" anchorCtr="0">
            <a:noAutofit/>
          </a:bodyPr>
          <a:lstStyle>
            <a:lvl1pPr marL="0" indent="0">
              <a:buNone/>
              <a:defRPr sz="105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61" name="Text Placeholder 5">
            <a:extLst>
              <a:ext uri="{FF2B5EF4-FFF2-40B4-BE49-F238E27FC236}">
                <a16:creationId xmlns:a16="http://schemas.microsoft.com/office/drawing/2014/main" id="{B870321F-7806-8847-92DE-6106433EA6AC}"/>
              </a:ext>
            </a:extLst>
          </p:cNvPr>
          <p:cNvSpPr>
            <a:spLocks noGrp="1"/>
          </p:cNvSpPr>
          <p:nvPr>
            <p:ph type="body" sz="quarter" idx="52" hasCustomPrompt="1"/>
          </p:nvPr>
        </p:nvSpPr>
        <p:spPr>
          <a:xfrm>
            <a:off x="10548087" y="2101717"/>
            <a:ext cx="1270800" cy="1094332"/>
          </a:xfrm>
        </p:spPr>
        <p:txBody>
          <a:bodyPr lIns="144000" tIns="0" rIns="144000" anchor="t" anchorCtr="0">
            <a:noAutofit/>
          </a:bodyPr>
          <a:lstStyle>
            <a:lvl1pPr marL="0" indent="0">
              <a:buNone/>
              <a:defRPr sz="105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65" name="MODULAR">
            <a:extLst>
              <a:ext uri="{FF2B5EF4-FFF2-40B4-BE49-F238E27FC236}">
                <a16:creationId xmlns:a16="http://schemas.microsoft.com/office/drawing/2014/main" id="{755A097C-E186-E64F-A64B-40C022D5715F}"/>
              </a:ext>
            </a:extLst>
          </p:cNvPr>
          <p:cNvSpPr txBox="1"/>
          <p:nvPr userDrawn="1"/>
        </p:nvSpPr>
        <p:spPr>
          <a:xfrm>
            <a:off x="359999" y="3391200"/>
            <a:ext cx="3823200" cy="457200"/>
          </a:xfrm>
          <a:prstGeom prst="rect">
            <a:avLst/>
          </a:prstGeom>
          <a:noFill/>
          <a:ln>
            <a:no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spcFirstLastPara="1" wrap="square" lIns="0" tIns="144000" rIns="144000" bIns="72000" anchor="b" anchorCtr="0">
            <a:noAutofit/>
          </a:bodyPr>
          <a:lstStyle>
            <a:defPPr marR="0" lvl="0" algn="l" rtl="0">
              <a:lnSpc>
                <a:spcPct val="100000"/>
              </a:lnSpc>
              <a:spcBef>
                <a:spcPts val="0"/>
              </a:spcBef>
              <a:spcAft>
                <a:spcPts val="0"/>
              </a:spcAft>
              <a:defRPr/>
            </a:defPPr>
            <a:lvl1pPr marL="114300" indent="0">
              <a:lnSpc>
                <a:spcPct val="115000"/>
              </a:lnSpc>
              <a:spcBef>
                <a:spcPts val="1000"/>
              </a:spcBef>
              <a:buClr>
                <a:srgbClr val="D22613"/>
              </a:buClr>
              <a:buSzPts val="1800"/>
              <a:buFont typeface="Open Sans"/>
              <a:buNone/>
              <a:defRPr>
                <a:solidFill>
                  <a:schemeClr val="bg1"/>
                </a:solidFill>
                <a:latin typeface="Open Sans"/>
                <a:ea typeface="Open Sans"/>
                <a:cs typeface="Open Sans"/>
              </a:defRPr>
            </a:lvl1pPr>
            <a:lvl2pPr marL="914400" indent="-317500">
              <a:lnSpc>
                <a:spcPct val="115000"/>
              </a:lnSpc>
              <a:spcBef>
                <a:spcPts val="1600"/>
              </a:spcBef>
              <a:buClr>
                <a:srgbClr val="FFB000"/>
              </a:buClr>
              <a:buSzPts val="1400"/>
              <a:buFont typeface="Open Sans"/>
              <a:buChar char="■"/>
              <a:defRPr>
                <a:solidFill>
                  <a:srgbClr val="666666"/>
                </a:solidFill>
                <a:latin typeface="Open Sans"/>
                <a:ea typeface="Open Sans"/>
                <a:cs typeface="Open Sans"/>
              </a:defRPr>
            </a:lvl2pPr>
            <a:lvl3pPr marL="1371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3pPr>
            <a:lvl4pPr marL="18288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4pPr>
            <a:lvl5pPr marL="22860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5pPr>
            <a:lvl6pPr marL="27432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6pPr>
            <a:lvl7pPr marL="32004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7pPr>
            <a:lvl8pPr marL="3657600" indent="-304800">
              <a:lnSpc>
                <a:spcPct val="115000"/>
              </a:lnSpc>
              <a:spcBef>
                <a:spcPts val="1600"/>
              </a:spcBef>
              <a:buClr>
                <a:srgbClr val="666666"/>
              </a:buClr>
              <a:buSzPts val="1200"/>
              <a:buFont typeface="Open Sans"/>
              <a:buChar char="○"/>
              <a:defRPr sz="1200">
                <a:solidFill>
                  <a:srgbClr val="666666"/>
                </a:solidFill>
                <a:latin typeface="Open Sans"/>
                <a:ea typeface="Open Sans"/>
                <a:cs typeface="Open Sans"/>
              </a:defRPr>
            </a:lvl8pPr>
            <a:lvl9pPr marL="4114800" indent="-304800">
              <a:lnSpc>
                <a:spcPct val="115000"/>
              </a:lnSpc>
              <a:spcBef>
                <a:spcPts val="1600"/>
              </a:spcBef>
              <a:spcAft>
                <a:spcPts val="1600"/>
              </a:spcAft>
              <a:buClr>
                <a:srgbClr val="666666"/>
              </a:buClr>
              <a:buSzPts val="1200"/>
              <a:buFont typeface="Open Sans"/>
              <a:buChar char="■"/>
              <a:defRPr sz="1200">
                <a:solidFill>
                  <a:srgbClr val="666666"/>
                </a:solidFill>
                <a:latin typeface="Open Sans"/>
                <a:ea typeface="Open Sans"/>
                <a:cs typeface="Open Sans"/>
              </a:defRPr>
            </a:lvl9pPr>
          </a:lstStyle>
          <a:p>
            <a:pPr marL="0" marR="0" lvl="0" indent="0" algn="l" defTabSz="914400" rtl="0" eaLnBrk="1" fontAlgn="auto" latinLnBrk="0" hangingPunct="1">
              <a:lnSpc>
                <a:spcPct val="100000"/>
              </a:lnSpc>
              <a:spcBef>
                <a:spcPts val="0"/>
              </a:spcBef>
              <a:buClr>
                <a:srgbClr val="D22613"/>
              </a:buClr>
              <a:buSzPts val="1800"/>
              <a:buFont typeface="Open Sans"/>
              <a:buNone/>
              <a:tabLst/>
              <a:defRPr/>
            </a:pPr>
            <a:r>
              <a:rPr lang="en-US" sz="1600" b="1" dirty="0">
                <a:solidFill>
                  <a:schemeClr val="bg1"/>
                </a:solidFill>
                <a:latin typeface="+mj-lt"/>
                <a:cs typeface="Arial Black" panose="020B0604020202020204" pitchFamily="34" charset="0"/>
              </a:rPr>
              <a:t>Relationship Highlights</a:t>
            </a:r>
          </a:p>
        </p:txBody>
      </p:sp>
      <p:sp>
        <p:nvSpPr>
          <p:cNvPr id="14" name="Rectangle 13">
            <a:extLst>
              <a:ext uri="{FF2B5EF4-FFF2-40B4-BE49-F238E27FC236}">
                <a16:creationId xmlns:a16="http://schemas.microsoft.com/office/drawing/2014/main" id="{F1328944-431C-854A-B882-7B0D09F17948}"/>
              </a:ext>
            </a:extLst>
          </p:cNvPr>
          <p:cNvSpPr/>
          <p:nvPr userDrawn="1"/>
        </p:nvSpPr>
        <p:spPr>
          <a:xfrm>
            <a:off x="358775" y="3848399"/>
            <a:ext cx="2844000" cy="245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69" name="Rectangle 68">
            <a:extLst>
              <a:ext uri="{FF2B5EF4-FFF2-40B4-BE49-F238E27FC236}">
                <a16:creationId xmlns:a16="http://schemas.microsoft.com/office/drawing/2014/main" id="{D8B29AEB-8E8D-3043-87F6-E5181BF8BEEA}"/>
              </a:ext>
            </a:extLst>
          </p:cNvPr>
          <p:cNvSpPr/>
          <p:nvPr userDrawn="1"/>
        </p:nvSpPr>
        <p:spPr>
          <a:xfrm>
            <a:off x="3232012" y="3848399"/>
            <a:ext cx="2844000" cy="245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0" name="Rectangle 69">
            <a:extLst>
              <a:ext uri="{FF2B5EF4-FFF2-40B4-BE49-F238E27FC236}">
                <a16:creationId xmlns:a16="http://schemas.microsoft.com/office/drawing/2014/main" id="{518F88E7-BE7F-D044-B699-6B9C62C2A008}"/>
              </a:ext>
            </a:extLst>
          </p:cNvPr>
          <p:cNvSpPr/>
          <p:nvPr userDrawn="1"/>
        </p:nvSpPr>
        <p:spPr>
          <a:xfrm>
            <a:off x="6105249" y="3848399"/>
            <a:ext cx="2844000" cy="245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1" name="Rectangle 70">
            <a:extLst>
              <a:ext uri="{FF2B5EF4-FFF2-40B4-BE49-F238E27FC236}">
                <a16:creationId xmlns:a16="http://schemas.microsoft.com/office/drawing/2014/main" id="{D7678E8E-55E2-2144-8775-A7AD6B4EBD83}"/>
              </a:ext>
            </a:extLst>
          </p:cNvPr>
          <p:cNvSpPr/>
          <p:nvPr userDrawn="1"/>
        </p:nvSpPr>
        <p:spPr>
          <a:xfrm>
            <a:off x="8978487" y="3848399"/>
            <a:ext cx="2844000" cy="245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a:p>
        </p:txBody>
      </p:sp>
      <p:sp>
        <p:nvSpPr>
          <p:cNvPr id="72" name="Text Placeholder 71">
            <a:extLst>
              <a:ext uri="{FF2B5EF4-FFF2-40B4-BE49-F238E27FC236}">
                <a16:creationId xmlns:a16="http://schemas.microsoft.com/office/drawing/2014/main" id="{9D2BA56E-68B3-8349-A2AB-2231F8434E46}"/>
              </a:ext>
            </a:extLst>
          </p:cNvPr>
          <p:cNvSpPr>
            <a:spLocks noGrp="1"/>
          </p:cNvSpPr>
          <p:nvPr>
            <p:ph type="body" sz="quarter" idx="53" hasCustomPrompt="1"/>
          </p:nvPr>
        </p:nvSpPr>
        <p:spPr>
          <a:xfrm>
            <a:off x="355600" y="3848100"/>
            <a:ext cx="2844000" cy="459329"/>
          </a:xfrm>
        </p:spPr>
        <p:txBody>
          <a:bodyPr lIns="144000" tIns="144000" rIns="144000" bIns="72000">
            <a:spAutoFit/>
          </a:bodyPr>
          <a:lstStyle>
            <a:lvl1pPr marL="0" indent="0">
              <a:buNone/>
              <a:defRPr sz="1400" b="1" i="0">
                <a:latin typeface="Arial Black" panose="020B0604020202020204" pitchFamily="34" charset="0"/>
                <a:cs typeface="Arial Black" panose="020B0604020202020204" pitchFamily="34" charset="0"/>
              </a:defRPr>
            </a:lvl1pPr>
            <a:lvl2pPr>
              <a:defRPr sz="1400"/>
            </a:lvl2pPr>
            <a:lvl3pPr>
              <a:defRPr sz="1400"/>
            </a:lvl3pPr>
            <a:lvl4pPr>
              <a:defRPr sz="1400"/>
            </a:lvl4pPr>
            <a:lvl5pPr>
              <a:defRPr sz="1400"/>
            </a:lvl5pPr>
          </a:lstStyle>
          <a:p>
            <a:pPr lvl="0"/>
            <a:r>
              <a:rPr lang="en-GB"/>
              <a:t>Title</a:t>
            </a:r>
            <a:endParaRPr lang="ar-SA"/>
          </a:p>
        </p:txBody>
      </p:sp>
      <p:sp>
        <p:nvSpPr>
          <p:cNvPr id="75" name="Text Placeholder 74">
            <a:extLst>
              <a:ext uri="{FF2B5EF4-FFF2-40B4-BE49-F238E27FC236}">
                <a16:creationId xmlns:a16="http://schemas.microsoft.com/office/drawing/2014/main" id="{0B06885E-0485-6946-BC2B-C8747D49FD6F}"/>
              </a:ext>
            </a:extLst>
          </p:cNvPr>
          <p:cNvSpPr>
            <a:spLocks noGrp="1"/>
          </p:cNvSpPr>
          <p:nvPr>
            <p:ph type="body" sz="quarter" idx="54"/>
          </p:nvPr>
        </p:nvSpPr>
        <p:spPr>
          <a:xfrm>
            <a:off x="358775" y="4306888"/>
            <a:ext cx="2844000" cy="1993900"/>
          </a:xfrm>
          <a:solidFill>
            <a:schemeClr val="tx1">
              <a:lumMod val="90000"/>
              <a:lumOff val="10000"/>
            </a:schemeClr>
          </a:solidFill>
        </p:spPr>
        <p:txBody>
          <a:bodyPr lIns="144000" tIns="144000" rIns="144000">
            <a:normAutofit/>
          </a:bodyPr>
          <a:lstStyle>
            <a:lvl1pPr>
              <a:spcBef>
                <a:spcPts val="300"/>
              </a:spcBef>
              <a:defRPr sz="1100">
                <a:solidFill>
                  <a:schemeClr val="tx2">
                    <a:lumMod val="20000"/>
                    <a:lumOff val="80000"/>
                  </a:schemeClr>
                </a:solidFill>
              </a:defRPr>
            </a:lvl1pPr>
            <a:lvl2pPr>
              <a:spcBef>
                <a:spcPts val="300"/>
              </a:spcBef>
              <a:defRPr sz="1100">
                <a:solidFill>
                  <a:schemeClr val="tx2">
                    <a:lumMod val="20000"/>
                    <a:lumOff val="80000"/>
                  </a:schemeClr>
                </a:solidFill>
              </a:defRPr>
            </a:lvl2pPr>
            <a:lvl3pPr>
              <a:spcBef>
                <a:spcPts val="300"/>
              </a:spcBef>
              <a:defRPr sz="1100">
                <a:solidFill>
                  <a:schemeClr val="tx2">
                    <a:lumMod val="20000"/>
                    <a:lumOff val="80000"/>
                  </a:schemeClr>
                </a:solidFill>
              </a:defRPr>
            </a:lvl3pPr>
            <a:lvl4pPr>
              <a:spcBef>
                <a:spcPts val="300"/>
              </a:spcBef>
              <a:defRPr sz="1100">
                <a:solidFill>
                  <a:schemeClr val="tx2">
                    <a:lumMod val="20000"/>
                    <a:lumOff val="80000"/>
                  </a:schemeClr>
                </a:solidFill>
              </a:defRPr>
            </a:lvl4pPr>
            <a:lvl5pPr>
              <a:spcBef>
                <a:spcPts val="300"/>
              </a:spcBef>
              <a:defRPr sz="1100">
                <a:solidFill>
                  <a:schemeClr val="tx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80" name="Text Placeholder 71">
            <a:extLst>
              <a:ext uri="{FF2B5EF4-FFF2-40B4-BE49-F238E27FC236}">
                <a16:creationId xmlns:a16="http://schemas.microsoft.com/office/drawing/2014/main" id="{17D6F7C9-E666-3642-9E4F-F7E27E0A68E3}"/>
              </a:ext>
            </a:extLst>
          </p:cNvPr>
          <p:cNvSpPr>
            <a:spLocks noGrp="1"/>
          </p:cNvSpPr>
          <p:nvPr>
            <p:ph type="body" sz="quarter" idx="55" hasCustomPrompt="1"/>
          </p:nvPr>
        </p:nvSpPr>
        <p:spPr>
          <a:xfrm>
            <a:off x="3237018" y="3848100"/>
            <a:ext cx="2844000" cy="459329"/>
          </a:xfrm>
        </p:spPr>
        <p:txBody>
          <a:bodyPr lIns="144000" tIns="144000" rIns="144000" bIns="72000">
            <a:spAutoFit/>
          </a:bodyPr>
          <a:lstStyle>
            <a:lvl1pPr marL="0" indent="0">
              <a:buNone/>
              <a:defRPr sz="1400" b="1" i="0">
                <a:latin typeface="Arial Black" panose="020B0604020202020204" pitchFamily="34" charset="0"/>
                <a:cs typeface="Arial Black" panose="020B0604020202020204" pitchFamily="34" charset="0"/>
              </a:defRPr>
            </a:lvl1pPr>
            <a:lvl2pPr>
              <a:defRPr sz="1400"/>
            </a:lvl2pPr>
            <a:lvl3pPr>
              <a:defRPr sz="1400"/>
            </a:lvl3pPr>
            <a:lvl4pPr>
              <a:defRPr sz="1400"/>
            </a:lvl4pPr>
            <a:lvl5pPr>
              <a:defRPr sz="1400"/>
            </a:lvl5pPr>
          </a:lstStyle>
          <a:p>
            <a:pPr lvl="0"/>
            <a:r>
              <a:rPr lang="en-GB"/>
              <a:t>Title</a:t>
            </a:r>
            <a:endParaRPr lang="ar-SA"/>
          </a:p>
        </p:txBody>
      </p:sp>
      <p:sp>
        <p:nvSpPr>
          <p:cNvPr id="81" name="Text Placeholder 74">
            <a:extLst>
              <a:ext uri="{FF2B5EF4-FFF2-40B4-BE49-F238E27FC236}">
                <a16:creationId xmlns:a16="http://schemas.microsoft.com/office/drawing/2014/main" id="{111DDA48-E1D4-3746-B04F-91E47AD8303B}"/>
              </a:ext>
            </a:extLst>
          </p:cNvPr>
          <p:cNvSpPr>
            <a:spLocks noGrp="1"/>
          </p:cNvSpPr>
          <p:nvPr>
            <p:ph type="body" sz="quarter" idx="56"/>
          </p:nvPr>
        </p:nvSpPr>
        <p:spPr>
          <a:xfrm>
            <a:off x="3240193" y="4306888"/>
            <a:ext cx="2844000" cy="1993900"/>
          </a:xfrm>
          <a:solidFill>
            <a:schemeClr val="tx1">
              <a:lumMod val="90000"/>
              <a:lumOff val="10000"/>
            </a:schemeClr>
          </a:solidFill>
        </p:spPr>
        <p:txBody>
          <a:bodyPr lIns="144000" tIns="144000" rIns="144000">
            <a:normAutofit/>
          </a:bodyPr>
          <a:lstStyle>
            <a:lvl1pPr>
              <a:spcBef>
                <a:spcPts val="300"/>
              </a:spcBef>
              <a:defRPr sz="1100">
                <a:solidFill>
                  <a:schemeClr val="tx2">
                    <a:lumMod val="20000"/>
                    <a:lumOff val="80000"/>
                  </a:schemeClr>
                </a:solidFill>
              </a:defRPr>
            </a:lvl1pPr>
            <a:lvl2pPr>
              <a:spcBef>
                <a:spcPts val="300"/>
              </a:spcBef>
              <a:defRPr sz="1100">
                <a:solidFill>
                  <a:schemeClr val="tx2">
                    <a:lumMod val="20000"/>
                    <a:lumOff val="80000"/>
                  </a:schemeClr>
                </a:solidFill>
              </a:defRPr>
            </a:lvl2pPr>
            <a:lvl3pPr>
              <a:spcBef>
                <a:spcPts val="300"/>
              </a:spcBef>
              <a:defRPr sz="1100">
                <a:solidFill>
                  <a:schemeClr val="tx2">
                    <a:lumMod val="20000"/>
                    <a:lumOff val="80000"/>
                  </a:schemeClr>
                </a:solidFill>
              </a:defRPr>
            </a:lvl3pPr>
            <a:lvl4pPr>
              <a:spcBef>
                <a:spcPts val="300"/>
              </a:spcBef>
              <a:defRPr sz="1100">
                <a:solidFill>
                  <a:schemeClr val="tx2">
                    <a:lumMod val="20000"/>
                    <a:lumOff val="80000"/>
                  </a:schemeClr>
                </a:solidFill>
              </a:defRPr>
            </a:lvl4pPr>
            <a:lvl5pPr>
              <a:spcBef>
                <a:spcPts val="300"/>
              </a:spcBef>
              <a:defRPr sz="1100">
                <a:solidFill>
                  <a:schemeClr val="tx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82" name="Text Placeholder 71">
            <a:extLst>
              <a:ext uri="{FF2B5EF4-FFF2-40B4-BE49-F238E27FC236}">
                <a16:creationId xmlns:a16="http://schemas.microsoft.com/office/drawing/2014/main" id="{30AB42B5-7E03-B74D-84D6-DF67096D1248}"/>
              </a:ext>
            </a:extLst>
          </p:cNvPr>
          <p:cNvSpPr>
            <a:spLocks noGrp="1"/>
          </p:cNvSpPr>
          <p:nvPr>
            <p:ph type="body" sz="quarter" idx="57" hasCustomPrompt="1"/>
          </p:nvPr>
        </p:nvSpPr>
        <p:spPr>
          <a:xfrm>
            <a:off x="6107807" y="3848100"/>
            <a:ext cx="2844000" cy="459329"/>
          </a:xfrm>
        </p:spPr>
        <p:txBody>
          <a:bodyPr lIns="144000" tIns="144000" rIns="144000" bIns="72000">
            <a:spAutoFit/>
          </a:bodyPr>
          <a:lstStyle>
            <a:lvl1pPr marL="0" indent="0">
              <a:buNone/>
              <a:defRPr sz="1400" b="1" i="0">
                <a:latin typeface="Arial Black" panose="020B0604020202020204" pitchFamily="34" charset="0"/>
                <a:cs typeface="Arial Black" panose="020B0604020202020204" pitchFamily="34" charset="0"/>
              </a:defRPr>
            </a:lvl1pPr>
            <a:lvl2pPr>
              <a:defRPr sz="1400"/>
            </a:lvl2pPr>
            <a:lvl3pPr>
              <a:defRPr sz="1400"/>
            </a:lvl3pPr>
            <a:lvl4pPr>
              <a:defRPr sz="1400"/>
            </a:lvl4pPr>
            <a:lvl5pPr>
              <a:defRPr sz="1400"/>
            </a:lvl5pPr>
          </a:lstStyle>
          <a:p>
            <a:pPr lvl="0"/>
            <a:r>
              <a:rPr lang="en-GB"/>
              <a:t>Title</a:t>
            </a:r>
            <a:endParaRPr lang="ar-SA"/>
          </a:p>
        </p:txBody>
      </p:sp>
      <p:sp>
        <p:nvSpPr>
          <p:cNvPr id="83" name="Text Placeholder 74">
            <a:extLst>
              <a:ext uri="{FF2B5EF4-FFF2-40B4-BE49-F238E27FC236}">
                <a16:creationId xmlns:a16="http://schemas.microsoft.com/office/drawing/2014/main" id="{3CD1E7F4-5AB7-D84A-BA5B-0EA19905197B}"/>
              </a:ext>
            </a:extLst>
          </p:cNvPr>
          <p:cNvSpPr>
            <a:spLocks noGrp="1"/>
          </p:cNvSpPr>
          <p:nvPr>
            <p:ph type="body" sz="quarter" idx="58"/>
          </p:nvPr>
        </p:nvSpPr>
        <p:spPr>
          <a:xfrm>
            <a:off x="6110982" y="4306888"/>
            <a:ext cx="2844000" cy="1993900"/>
          </a:xfrm>
          <a:solidFill>
            <a:schemeClr val="tx1">
              <a:lumMod val="90000"/>
              <a:lumOff val="10000"/>
            </a:schemeClr>
          </a:solidFill>
        </p:spPr>
        <p:txBody>
          <a:bodyPr lIns="144000" tIns="144000" rIns="144000">
            <a:normAutofit/>
          </a:bodyPr>
          <a:lstStyle>
            <a:lvl1pPr>
              <a:spcBef>
                <a:spcPts val="300"/>
              </a:spcBef>
              <a:defRPr sz="1100">
                <a:solidFill>
                  <a:schemeClr val="tx2">
                    <a:lumMod val="20000"/>
                    <a:lumOff val="80000"/>
                  </a:schemeClr>
                </a:solidFill>
              </a:defRPr>
            </a:lvl1pPr>
            <a:lvl2pPr>
              <a:spcBef>
                <a:spcPts val="300"/>
              </a:spcBef>
              <a:defRPr sz="1100">
                <a:solidFill>
                  <a:schemeClr val="tx2">
                    <a:lumMod val="20000"/>
                    <a:lumOff val="80000"/>
                  </a:schemeClr>
                </a:solidFill>
              </a:defRPr>
            </a:lvl2pPr>
            <a:lvl3pPr>
              <a:spcBef>
                <a:spcPts val="300"/>
              </a:spcBef>
              <a:defRPr sz="1100">
                <a:solidFill>
                  <a:schemeClr val="tx2">
                    <a:lumMod val="20000"/>
                    <a:lumOff val="80000"/>
                  </a:schemeClr>
                </a:solidFill>
              </a:defRPr>
            </a:lvl3pPr>
            <a:lvl4pPr>
              <a:spcBef>
                <a:spcPts val="300"/>
              </a:spcBef>
              <a:defRPr sz="1100">
                <a:solidFill>
                  <a:schemeClr val="tx2">
                    <a:lumMod val="20000"/>
                    <a:lumOff val="80000"/>
                  </a:schemeClr>
                </a:solidFill>
              </a:defRPr>
            </a:lvl4pPr>
            <a:lvl5pPr>
              <a:spcBef>
                <a:spcPts val="300"/>
              </a:spcBef>
              <a:defRPr sz="1100">
                <a:solidFill>
                  <a:schemeClr val="tx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84" name="Text Placeholder 71">
            <a:extLst>
              <a:ext uri="{FF2B5EF4-FFF2-40B4-BE49-F238E27FC236}">
                <a16:creationId xmlns:a16="http://schemas.microsoft.com/office/drawing/2014/main" id="{7B2D0F9F-2548-1D41-B406-A0A0284B7E99}"/>
              </a:ext>
            </a:extLst>
          </p:cNvPr>
          <p:cNvSpPr>
            <a:spLocks noGrp="1"/>
          </p:cNvSpPr>
          <p:nvPr>
            <p:ph type="body" sz="quarter" idx="59" hasCustomPrompt="1"/>
          </p:nvPr>
        </p:nvSpPr>
        <p:spPr>
          <a:xfrm>
            <a:off x="8983913" y="3848100"/>
            <a:ext cx="2844000" cy="459329"/>
          </a:xfrm>
        </p:spPr>
        <p:txBody>
          <a:bodyPr lIns="144000" tIns="144000" rIns="144000" bIns="72000">
            <a:spAutoFit/>
          </a:bodyPr>
          <a:lstStyle>
            <a:lvl1pPr marL="0" indent="0">
              <a:buNone/>
              <a:defRPr sz="1400" b="1" i="0">
                <a:latin typeface="Arial Black" panose="020B0604020202020204" pitchFamily="34" charset="0"/>
                <a:cs typeface="Arial Black" panose="020B0604020202020204" pitchFamily="34" charset="0"/>
              </a:defRPr>
            </a:lvl1pPr>
            <a:lvl2pPr>
              <a:defRPr sz="1400"/>
            </a:lvl2pPr>
            <a:lvl3pPr>
              <a:defRPr sz="1400"/>
            </a:lvl3pPr>
            <a:lvl4pPr>
              <a:defRPr sz="1400"/>
            </a:lvl4pPr>
            <a:lvl5pPr>
              <a:defRPr sz="1400"/>
            </a:lvl5pPr>
          </a:lstStyle>
          <a:p>
            <a:pPr lvl="0"/>
            <a:r>
              <a:rPr lang="en-GB"/>
              <a:t>Title</a:t>
            </a:r>
            <a:endParaRPr lang="ar-SA"/>
          </a:p>
        </p:txBody>
      </p:sp>
      <p:sp>
        <p:nvSpPr>
          <p:cNvPr id="85" name="Text Placeholder 74">
            <a:extLst>
              <a:ext uri="{FF2B5EF4-FFF2-40B4-BE49-F238E27FC236}">
                <a16:creationId xmlns:a16="http://schemas.microsoft.com/office/drawing/2014/main" id="{C3DB5BCE-E9BA-E34F-A56A-4C20A41F8581}"/>
              </a:ext>
            </a:extLst>
          </p:cNvPr>
          <p:cNvSpPr>
            <a:spLocks noGrp="1"/>
          </p:cNvSpPr>
          <p:nvPr>
            <p:ph type="body" sz="quarter" idx="60"/>
          </p:nvPr>
        </p:nvSpPr>
        <p:spPr>
          <a:xfrm>
            <a:off x="8987088" y="4306888"/>
            <a:ext cx="2844000" cy="1993900"/>
          </a:xfrm>
          <a:solidFill>
            <a:schemeClr val="tx1">
              <a:lumMod val="90000"/>
              <a:lumOff val="10000"/>
            </a:schemeClr>
          </a:solidFill>
        </p:spPr>
        <p:txBody>
          <a:bodyPr lIns="144000" tIns="144000" rIns="144000">
            <a:normAutofit/>
          </a:bodyPr>
          <a:lstStyle>
            <a:lvl1pPr>
              <a:spcBef>
                <a:spcPts val="300"/>
              </a:spcBef>
              <a:defRPr sz="1100">
                <a:solidFill>
                  <a:schemeClr val="tx2">
                    <a:lumMod val="20000"/>
                    <a:lumOff val="80000"/>
                  </a:schemeClr>
                </a:solidFill>
              </a:defRPr>
            </a:lvl1pPr>
            <a:lvl2pPr>
              <a:spcBef>
                <a:spcPts val="300"/>
              </a:spcBef>
              <a:defRPr sz="1100">
                <a:solidFill>
                  <a:schemeClr val="tx2">
                    <a:lumMod val="20000"/>
                    <a:lumOff val="80000"/>
                  </a:schemeClr>
                </a:solidFill>
              </a:defRPr>
            </a:lvl2pPr>
            <a:lvl3pPr>
              <a:spcBef>
                <a:spcPts val="300"/>
              </a:spcBef>
              <a:defRPr sz="1100">
                <a:solidFill>
                  <a:schemeClr val="tx2">
                    <a:lumMod val="20000"/>
                    <a:lumOff val="80000"/>
                  </a:schemeClr>
                </a:solidFill>
              </a:defRPr>
            </a:lvl3pPr>
            <a:lvl4pPr>
              <a:spcBef>
                <a:spcPts val="300"/>
              </a:spcBef>
              <a:defRPr sz="1100">
                <a:solidFill>
                  <a:schemeClr val="tx2">
                    <a:lumMod val="20000"/>
                    <a:lumOff val="80000"/>
                  </a:schemeClr>
                </a:solidFill>
              </a:defRPr>
            </a:lvl4pPr>
            <a:lvl5pPr>
              <a:spcBef>
                <a:spcPts val="300"/>
              </a:spcBef>
              <a:defRPr sz="1100">
                <a:solidFill>
                  <a:schemeClr val="tx2">
                    <a:lumMod val="20000"/>
                    <a:lumOff val="8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93" name="Text Placeholder 5">
            <a:extLst>
              <a:ext uri="{FF2B5EF4-FFF2-40B4-BE49-F238E27FC236}">
                <a16:creationId xmlns:a16="http://schemas.microsoft.com/office/drawing/2014/main" id="{535EF690-9783-784D-ADB3-0E7C70A90219}"/>
              </a:ext>
            </a:extLst>
          </p:cNvPr>
          <p:cNvSpPr>
            <a:spLocks noGrp="1"/>
          </p:cNvSpPr>
          <p:nvPr>
            <p:ph type="body" sz="quarter" idx="61" hasCustomPrompt="1"/>
          </p:nvPr>
        </p:nvSpPr>
        <p:spPr>
          <a:xfrm>
            <a:off x="6089956" y="1692000"/>
            <a:ext cx="1911600" cy="329252"/>
          </a:xfrm>
        </p:spPr>
        <p:txBody>
          <a:bodyPr lIns="144000" tIns="36000" anchor="b" anchorCtr="0">
            <a:spAutoFit/>
          </a:bodyPr>
          <a:lstStyle>
            <a:lvl1pPr marL="0" indent="0">
              <a:buNone/>
              <a:defRPr sz="17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Numbers</a:t>
            </a:r>
            <a:endParaRPr lang="ar-SA"/>
          </a:p>
        </p:txBody>
      </p:sp>
      <p:sp>
        <p:nvSpPr>
          <p:cNvPr id="94" name="Text Placeholder 5">
            <a:extLst>
              <a:ext uri="{FF2B5EF4-FFF2-40B4-BE49-F238E27FC236}">
                <a16:creationId xmlns:a16="http://schemas.microsoft.com/office/drawing/2014/main" id="{0B5AA781-1A67-9E4C-A00D-ABD7959DA2B7}"/>
              </a:ext>
            </a:extLst>
          </p:cNvPr>
          <p:cNvSpPr>
            <a:spLocks noGrp="1"/>
          </p:cNvSpPr>
          <p:nvPr>
            <p:ph type="body" sz="quarter" idx="62" hasCustomPrompt="1"/>
          </p:nvPr>
        </p:nvSpPr>
        <p:spPr>
          <a:xfrm>
            <a:off x="6089956" y="1961617"/>
            <a:ext cx="1911600" cy="237560"/>
          </a:xfrm>
        </p:spPr>
        <p:txBody>
          <a:bodyPr lIns="144000" tIns="36000" anchor="b" anchorCtr="0">
            <a:spAutoFit/>
          </a:bodyPr>
          <a:lstStyle>
            <a:lvl1pPr marL="0" indent="0">
              <a:buNone/>
              <a:defRPr sz="120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95" name="Text Placeholder 5">
            <a:extLst>
              <a:ext uri="{FF2B5EF4-FFF2-40B4-BE49-F238E27FC236}">
                <a16:creationId xmlns:a16="http://schemas.microsoft.com/office/drawing/2014/main" id="{342AD4E1-DE3F-B34B-8ED8-E50D1E9D2701}"/>
              </a:ext>
            </a:extLst>
          </p:cNvPr>
          <p:cNvSpPr>
            <a:spLocks noGrp="1"/>
          </p:cNvSpPr>
          <p:nvPr>
            <p:ph type="body" sz="quarter" idx="63" hasCustomPrompt="1"/>
          </p:nvPr>
        </p:nvSpPr>
        <p:spPr>
          <a:xfrm>
            <a:off x="6089956" y="2185648"/>
            <a:ext cx="1911600" cy="329252"/>
          </a:xfrm>
        </p:spPr>
        <p:txBody>
          <a:bodyPr lIns="144000" tIns="36000" anchor="b" anchorCtr="0">
            <a:spAutoFit/>
          </a:bodyPr>
          <a:lstStyle>
            <a:lvl1pPr marL="0" indent="0">
              <a:buNone/>
              <a:defRPr sz="17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Numbers</a:t>
            </a:r>
            <a:endParaRPr lang="ar-SA"/>
          </a:p>
        </p:txBody>
      </p:sp>
      <p:sp>
        <p:nvSpPr>
          <p:cNvPr id="96" name="Text Placeholder 5">
            <a:extLst>
              <a:ext uri="{FF2B5EF4-FFF2-40B4-BE49-F238E27FC236}">
                <a16:creationId xmlns:a16="http://schemas.microsoft.com/office/drawing/2014/main" id="{F3CAC616-27BE-E742-9495-B1465449C26A}"/>
              </a:ext>
            </a:extLst>
          </p:cNvPr>
          <p:cNvSpPr>
            <a:spLocks noGrp="1"/>
          </p:cNvSpPr>
          <p:nvPr>
            <p:ph type="body" sz="quarter" idx="64" hasCustomPrompt="1"/>
          </p:nvPr>
        </p:nvSpPr>
        <p:spPr>
          <a:xfrm>
            <a:off x="6089956" y="2455647"/>
            <a:ext cx="1911600" cy="237560"/>
          </a:xfrm>
        </p:spPr>
        <p:txBody>
          <a:bodyPr lIns="144000" tIns="36000" anchor="b" anchorCtr="0">
            <a:spAutoFit/>
          </a:bodyPr>
          <a:lstStyle>
            <a:lvl1pPr marL="0" indent="0">
              <a:buNone/>
              <a:defRPr sz="120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97" name="Text Placeholder 5">
            <a:extLst>
              <a:ext uri="{FF2B5EF4-FFF2-40B4-BE49-F238E27FC236}">
                <a16:creationId xmlns:a16="http://schemas.microsoft.com/office/drawing/2014/main" id="{B18FBD31-7944-CC4A-A942-6BB1F86F7B76}"/>
              </a:ext>
            </a:extLst>
          </p:cNvPr>
          <p:cNvSpPr>
            <a:spLocks noGrp="1"/>
          </p:cNvSpPr>
          <p:nvPr>
            <p:ph type="body" sz="quarter" idx="65" hasCustomPrompt="1"/>
          </p:nvPr>
        </p:nvSpPr>
        <p:spPr>
          <a:xfrm>
            <a:off x="6089956" y="2667600"/>
            <a:ext cx="1911600" cy="329252"/>
          </a:xfrm>
        </p:spPr>
        <p:txBody>
          <a:bodyPr lIns="144000" tIns="36000" anchor="b" anchorCtr="0">
            <a:spAutoFit/>
          </a:bodyPr>
          <a:lstStyle>
            <a:lvl1pPr marL="0" indent="0">
              <a:buNone/>
              <a:defRPr sz="1700" b="1" i="0" spc="-100" baseline="0">
                <a:solidFill>
                  <a:schemeClr val="accent2"/>
                </a:solidFill>
                <a:latin typeface="Arial Black" panose="020B0604020202020204" pitchFamily="34" charset="0"/>
                <a:cs typeface="Arial Black"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Numbers</a:t>
            </a:r>
            <a:endParaRPr lang="ar-SA"/>
          </a:p>
        </p:txBody>
      </p:sp>
      <p:sp>
        <p:nvSpPr>
          <p:cNvPr id="98" name="Text Placeholder 5">
            <a:extLst>
              <a:ext uri="{FF2B5EF4-FFF2-40B4-BE49-F238E27FC236}">
                <a16:creationId xmlns:a16="http://schemas.microsoft.com/office/drawing/2014/main" id="{BD2D5BBF-7FB5-6C45-B229-ADCB028D11F6}"/>
              </a:ext>
            </a:extLst>
          </p:cNvPr>
          <p:cNvSpPr>
            <a:spLocks noGrp="1"/>
          </p:cNvSpPr>
          <p:nvPr>
            <p:ph type="body" sz="quarter" idx="66" hasCustomPrompt="1"/>
          </p:nvPr>
        </p:nvSpPr>
        <p:spPr>
          <a:xfrm>
            <a:off x="6089956" y="2941759"/>
            <a:ext cx="1911600" cy="237560"/>
          </a:xfrm>
        </p:spPr>
        <p:txBody>
          <a:bodyPr lIns="144000" tIns="36000" anchor="b" anchorCtr="0">
            <a:spAutoFit/>
          </a:bodyPr>
          <a:lstStyle>
            <a:lvl1pPr marL="0" indent="0">
              <a:buNone/>
              <a:defRPr sz="1200" b="0" i="0" spc="0" baseline="0">
                <a:solidFill>
                  <a:schemeClr val="tx2"/>
                </a:solidFill>
                <a:latin typeface="Arial" panose="020B0604020202020204" pitchFamily="34" charset="0"/>
                <a:cs typeface="Arial" panose="020B0604020202020204" pitchFamily="34" charset="0"/>
              </a:defRPr>
            </a:lvl1pPr>
            <a:lvl2pPr marL="360000" indent="0">
              <a:buNone/>
              <a:defRPr sz="1050"/>
            </a:lvl2pPr>
            <a:lvl3pPr marL="914400" indent="0">
              <a:buFont typeface="Arial" panose="020B0604020202020204" pitchFamily="34" charset="0"/>
              <a:buNone/>
              <a:defRPr sz="1050"/>
            </a:lvl3pPr>
            <a:lvl4pPr marL="1371600" indent="0">
              <a:buNone/>
              <a:defRPr sz="1050"/>
            </a:lvl4pPr>
            <a:lvl5pPr marL="1828800" indent="0">
              <a:buNone/>
              <a:defRPr sz="1050"/>
            </a:lvl5pPr>
          </a:lstStyle>
          <a:p>
            <a:pPr lvl="0"/>
            <a:r>
              <a:rPr lang="en-US"/>
              <a:t>Text</a:t>
            </a:r>
            <a:endParaRPr lang="ar-SA"/>
          </a:p>
        </p:txBody>
      </p:sp>
      <p:sp>
        <p:nvSpPr>
          <p:cNvPr id="101" name="TextBox 100">
            <a:extLst>
              <a:ext uri="{FF2B5EF4-FFF2-40B4-BE49-F238E27FC236}">
                <a16:creationId xmlns:a16="http://schemas.microsoft.com/office/drawing/2014/main" id="{42F6A825-B305-1041-8246-ACC0698904CC}"/>
              </a:ext>
            </a:extLst>
          </p:cNvPr>
          <p:cNvSpPr txBox="1"/>
          <p:nvPr userDrawn="1"/>
        </p:nvSpPr>
        <p:spPr>
          <a:xfrm>
            <a:off x="8004254" y="1737564"/>
            <a:ext cx="1274400" cy="353943"/>
          </a:xfrm>
          <a:prstGeom prst="rect">
            <a:avLst/>
          </a:prstGeom>
          <a:noFill/>
        </p:spPr>
        <p:txBody>
          <a:bodyPr wrap="square" lIns="144000" rtlCol="0">
            <a:spAutoFit/>
          </a:bodyPr>
          <a:lstStyle/>
          <a:p>
            <a:r>
              <a:rPr lang="en-US" sz="1700" b="1" i="0" dirty="0">
                <a:solidFill>
                  <a:schemeClr val="accent2"/>
                </a:solidFill>
                <a:latin typeface="Arial Black" panose="020B0604020202020204" pitchFamily="34" charset="0"/>
                <a:cs typeface="Arial Black" panose="020B0604020202020204" pitchFamily="34" charset="0"/>
              </a:rPr>
              <a:t>1.</a:t>
            </a:r>
            <a:endParaRPr lang="ar-SA" sz="1700" b="1" i="0">
              <a:solidFill>
                <a:schemeClr val="accent2"/>
              </a:solidFill>
              <a:latin typeface="Arial Black" panose="020B0604020202020204" pitchFamily="34" charset="0"/>
              <a:cs typeface="Arial Black" panose="020B0604020202020204" pitchFamily="34" charset="0"/>
            </a:endParaRPr>
          </a:p>
        </p:txBody>
      </p:sp>
      <p:sp>
        <p:nvSpPr>
          <p:cNvPr id="102" name="TextBox 101">
            <a:extLst>
              <a:ext uri="{FF2B5EF4-FFF2-40B4-BE49-F238E27FC236}">
                <a16:creationId xmlns:a16="http://schemas.microsoft.com/office/drawing/2014/main" id="{FAF9D9FE-0ED3-B241-9C62-5A236539108A}"/>
              </a:ext>
            </a:extLst>
          </p:cNvPr>
          <p:cNvSpPr txBox="1"/>
          <p:nvPr userDrawn="1"/>
        </p:nvSpPr>
        <p:spPr>
          <a:xfrm>
            <a:off x="9274589" y="1737564"/>
            <a:ext cx="1274400" cy="353943"/>
          </a:xfrm>
          <a:prstGeom prst="rect">
            <a:avLst/>
          </a:prstGeom>
          <a:noFill/>
        </p:spPr>
        <p:txBody>
          <a:bodyPr wrap="square" lIns="144000" rtlCol="0">
            <a:spAutoFit/>
          </a:bodyPr>
          <a:lstStyle/>
          <a:p>
            <a:r>
              <a:rPr lang="en-US" sz="1700" b="1" i="0" dirty="0">
                <a:solidFill>
                  <a:schemeClr val="accent2"/>
                </a:solidFill>
                <a:latin typeface="Arial Black" panose="020B0604020202020204" pitchFamily="34" charset="0"/>
                <a:cs typeface="Arial Black" panose="020B0604020202020204" pitchFamily="34" charset="0"/>
              </a:rPr>
              <a:t>2.</a:t>
            </a:r>
            <a:endParaRPr lang="ar-SA" sz="1700" b="1" i="0">
              <a:solidFill>
                <a:schemeClr val="accent2"/>
              </a:solidFill>
              <a:latin typeface="Arial Black" panose="020B0604020202020204" pitchFamily="34" charset="0"/>
              <a:cs typeface="Arial Black" panose="020B0604020202020204" pitchFamily="34" charset="0"/>
            </a:endParaRPr>
          </a:p>
        </p:txBody>
      </p:sp>
      <p:sp>
        <p:nvSpPr>
          <p:cNvPr id="103" name="TextBox 102">
            <a:extLst>
              <a:ext uri="{FF2B5EF4-FFF2-40B4-BE49-F238E27FC236}">
                <a16:creationId xmlns:a16="http://schemas.microsoft.com/office/drawing/2014/main" id="{15F3A499-1328-F140-B521-9F5B77EB78FA}"/>
              </a:ext>
            </a:extLst>
          </p:cNvPr>
          <p:cNvSpPr txBox="1"/>
          <p:nvPr userDrawn="1"/>
        </p:nvSpPr>
        <p:spPr>
          <a:xfrm>
            <a:off x="10548087" y="1737564"/>
            <a:ext cx="1274400" cy="353943"/>
          </a:xfrm>
          <a:prstGeom prst="rect">
            <a:avLst/>
          </a:prstGeom>
          <a:noFill/>
        </p:spPr>
        <p:txBody>
          <a:bodyPr wrap="square" lIns="144000" rtlCol="0">
            <a:spAutoFit/>
          </a:bodyPr>
          <a:lstStyle/>
          <a:p>
            <a:r>
              <a:rPr lang="en-US" sz="1700" b="1" i="0" dirty="0">
                <a:solidFill>
                  <a:schemeClr val="accent2"/>
                </a:solidFill>
                <a:latin typeface="Arial Black" panose="020B0604020202020204" pitchFamily="34" charset="0"/>
                <a:cs typeface="Arial Black" panose="020B0604020202020204" pitchFamily="34" charset="0"/>
              </a:rPr>
              <a:t>3.</a:t>
            </a:r>
            <a:endParaRPr lang="ar-SA" sz="1700" b="1" i="0">
              <a:solidFill>
                <a:schemeClr val="accent2"/>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151865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41">
          <p15:clr>
            <a:srgbClr val="FBAE40"/>
          </p15:clr>
        </p15:guide>
        <p15:guide id="2" orient="horz" pos="1423">
          <p15:clr>
            <a:srgbClr val="FBAE40"/>
          </p15:clr>
        </p15:guide>
        <p15:guide id="3" orient="horz" pos="1536">
          <p15:clr>
            <a:srgbClr val="FBAE40"/>
          </p15:clr>
        </p15:guide>
        <p15:guide id="4" orient="horz" pos="185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Photo with Caption">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F3629D0B-0309-F24F-BAE9-D5FE74D3FCCA}"/>
              </a:ext>
            </a:extLst>
          </p:cNvPr>
          <p:cNvSpPr>
            <a:spLocks noGrp="1"/>
          </p:cNvSpPr>
          <p:nvPr>
            <p:ph type="body" sz="quarter" idx="14" hasCustomPrompt="1"/>
          </p:nvPr>
        </p:nvSpPr>
        <p:spPr>
          <a:xfrm>
            <a:off x="0" y="6317999"/>
            <a:ext cx="6091200" cy="540000"/>
          </a:xfrm>
          <a:solidFill>
            <a:schemeClr val="tx1">
              <a:lumMod val="90000"/>
              <a:lumOff val="10000"/>
            </a:schemeClr>
          </a:solidFill>
        </p:spPr>
        <p:txBody>
          <a:bodyPr lIns="360000" tIns="0" rIns="360000" bIns="0" anchor="ctr" anchorCtr="0">
            <a:noAutofit/>
          </a:bodyPr>
          <a:lstStyle>
            <a:lvl1pPr marL="0" indent="0">
              <a:buNone/>
              <a:defRPr sz="1400" b="1" i="0">
                <a:solidFill>
                  <a:schemeClr val="bg2"/>
                </a:solidFill>
                <a:latin typeface="+mn-lt"/>
                <a:cs typeface="Arial Black" panose="020B0604020202020204" pitchFamily="34" charset="0"/>
              </a:defRPr>
            </a:lvl1pPr>
          </a:lstStyle>
          <a:p>
            <a:pPr lvl="0"/>
            <a:r>
              <a:rPr lang="en-US" dirty="0"/>
              <a:t>This is the caption for the photo</a:t>
            </a:r>
            <a:endParaRPr lang="ar-SA" dirty="0"/>
          </a:p>
        </p:txBody>
      </p:sp>
    </p:spTree>
    <p:extLst>
      <p:ext uri="{BB962C8B-B14F-4D97-AF65-F5344CB8AC3E}">
        <p14:creationId xmlns:p14="http://schemas.microsoft.com/office/powerpoint/2010/main" val="1574840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57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with Photo Lef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1B8719-644F-40C0-B568-9FA61E2CC7E4}"/>
              </a:ext>
            </a:extLst>
          </p:cNvPr>
          <p:cNvSpPr/>
          <p:nvPr userDrawn="1"/>
        </p:nvSpPr>
        <p:spPr>
          <a:xfrm>
            <a:off x="0" y="1836000"/>
            <a:ext cx="6083999" cy="31176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dirty="0"/>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0" y="1836000"/>
            <a:ext cx="6084888" cy="3117600"/>
          </a:xfrm>
          <a:noFill/>
          <a:ln>
            <a:noFill/>
          </a:ln>
        </p:spPr>
        <p:txBody>
          <a:bodyPr lIns="1296000" tIns="1440000" rIns="720000" bIns="360000" anchor="t" anchorCtr="0">
            <a:normAutofit/>
          </a:bodyPr>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Deck Title (keep it short)</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0" y="4950000"/>
            <a:ext cx="6084888" cy="813600"/>
          </a:xfrm>
          <a:prstGeom prst="rect">
            <a:avLst/>
          </a:prstGeom>
          <a:solidFill>
            <a:schemeClr val="tx1"/>
          </a:solidFill>
        </p:spPr>
        <p:txBody>
          <a:bodyPr lIns="1296000" tIns="180000" rIns="720000" bIns="180000" anchor="ctr"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13" name="Graphic 6">
            <a:extLst>
              <a:ext uri="{FF2B5EF4-FFF2-40B4-BE49-F238E27FC236}">
                <a16:creationId xmlns:a16="http://schemas.microsoft.com/office/drawing/2014/main" id="{C9AA7FCE-E741-49D9-B1CF-50336E73C715}"/>
              </a:ext>
            </a:extLst>
          </p:cNvPr>
          <p:cNvGrpSpPr/>
          <p:nvPr userDrawn="1"/>
        </p:nvGrpSpPr>
        <p:grpSpPr>
          <a:xfrm>
            <a:off x="729939" y="2361601"/>
            <a:ext cx="1949437" cy="439199"/>
            <a:chOff x="3721526" y="2201333"/>
            <a:chExt cx="1949437" cy="439199"/>
          </a:xfrm>
        </p:grpSpPr>
        <p:sp>
          <p:nvSpPr>
            <p:cNvPr id="14" name="Graphic 6">
              <a:extLst>
                <a:ext uri="{FF2B5EF4-FFF2-40B4-BE49-F238E27FC236}">
                  <a16:creationId xmlns:a16="http://schemas.microsoft.com/office/drawing/2014/main" id="{66C7B0D1-5994-4145-BE60-7A28DFC8B3BC}"/>
                </a:ext>
              </a:extLst>
            </p:cNvPr>
            <p:cNvSpPr/>
            <p:nvPr/>
          </p:nvSpPr>
          <p:spPr>
            <a:xfrm>
              <a:off x="4295120" y="2307209"/>
              <a:ext cx="1375843" cy="232533"/>
            </a:xfrm>
            <a:custGeom>
              <a:avLst/>
              <a:gdLst>
                <a:gd name="connsiteX0" fmla="*/ 516051 w 1375843"/>
                <a:gd name="connsiteY0" fmla="*/ 68048 h 232533"/>
                <a:gd name="connsiteX1" fmla="*/ 578107 w 1375843"/>
                <a:gd name="connsiteY1" fmla="*/ 104431 h 232533"/>
                <a:gd name="connsiteX2" fmla="*/ 540432 w 1375843"/>
                <a:gd name="connsiteY2" fmla="*/ 124363 h 232533"/>
                <a:gd name="connsiteX3" fmla="*/ 515734 w 1375843"/>
                <a:gd name="connsiteY3" fmla="*/ 105062 h 232533"/>
                <a:gd name="connsiteX4" fmla="*/ 501172 w 1375843"/>
                <a:gd name="connsiteY4" fmla="*/ 115818 h 232533"/>
                <a:gd name="connsiteX5" fmla="*/ 514153 w 1375843"/>
                <a:gd name="connsiteY5" fmla="*/ 127840 h 232533"/>
                <a:gd name="connsiteX6" fmla="*/ 533783 w 1375843"/>
                <a:gd name="connsiteY6" fmla="*/ 132904 h 232533"/>
                <a:gd name="connsiteX7" fmla="*/ 579056 w 1375843"/>
                <a:gd name="connsiteY7" fmla="*/ 179095 h 232533"/>
                <a:gd name="connsiteX8" fmla="*/ 516051 w 1375843"/>
                <a:gd name="connsiteY8" fmla="*/ 232561 h 232533"/>
                <a:gd name="connsiteX9" fmla="*/ 449877 w 1375843"/>
                <a:gd name="connsiteY9" fmla="*/ 194280 h 232533"/>
                <a:gd name="connsiteX10" fmla="*/ 487238 w 1375843"/>
                <a:gd name="connsiteY10" fmla="*/ 173713 h 232533"/>
                <a:gd name="connsiteX11" fmla="*/ 516369 w 1375843"/>
                <a:gd name="connsiteY11" fmla="*/ 194912 h 232533"/>
                <a:gd name="connsiteX12" fmla="*/ 532833 w 1375843"/>
                <a:gd name="connsiteY12" fmla="*/ 182890 h 232533"/>
                <a:gd name="connsiteX13" fmla="*/ 518585 w 1375843"/>
                <a:gd name="connsiteY13" fmla="*/ 171185 h 232533"/>
                <a:gd name="connsiteX14" fmla="*/ 500222 w 1375843"/>
                <a:gd name="connsiteY14" fmla="*/ 166756 h 232533"/>
                <a:gd name="connsiteX15" fmla="*/ 455577 w 1375843"/>
                <a:gd name="connsiteY15" fmla="*/ 118668 h 232533"/>
                <a:gd name="connsiteX16" fmla="*/ 516051 w 1375843"/>
                <a:gd name="connsiteY16" fmla="*/ 68048 h 232533"/>
                <a:gd name="connsiteX17" fmla="*/ 731570 w 1375843"/>
                <a:gd name="connsiteY17" fmla="*/ 68048 h 232533"/>
                <a:gd name="connsiteX18" fmla="*/ 793630 w 1375843"/>
                <a:gd name="connsiteY18" fmla="*/ 104431 h 232533"/>
                <a:gd name="connsiteX19" fmla="*/ 755951 w 1375843"/>
                <a:gd name="connsiteY19" fmla="*/ 124363 h 232533"/>
                <a:gd name="connsiteX20" fmla="*/ 731253 w 1375843"/>
                <a:gd name="connsiteY20" fmla="*/ 105062 h 232533"/>
                <a:gd name="connsiteX21" fmla="*/ 716691 w 1375843"/>
                <a:gd name="connsiteY21" fmla="*/ 115818 h 232533"/>
                <a:gd name="connsiteX22" fmla="*/ 729672 w 1375843"/>
                <a:gd name="connsiteY22" fmla="*/ 127840 h 232533"/>
                <a:gd name="connsiteX23" fmla="*/ 749302 w 1375843"/>
                <a:gd name="connsiteY23" fmla="*/ 132904 h 232533"/>
                <a:gd name="connsiteX24" fmla="*/ 794579 w 1375843"/>
                <a:gd name="connsiteY24" fmla="*/ 179095 h 232533"/>
                <a:gd name="connsiteX25" fmla="*/ 731570 w 1375843"/>
                <a:gd name="connsiteY25" fmla="*/ 232561 h 232533"/>
                <a:gd name="connsiteX26" fmla="*/ 665400 w 1375843"/>
                <a:gd name="connsiteY26" fmla="*/ 194280 h 232533"/>
                <a:gd name="connsiteX27" fmla="*/ 702761 w 1375843"/>
                <a:gd name="connsiteY27" fmla="*/ 173713 h 232533"/>
                <a:gd name="connsiteX28" fmla="*/ 731888 w 1375843"/>
                <a:gd name="connsiteY28" fmla="*/ 194912 h 232533"/>
                <a:gd name="connsiteX29" fmla="*/ 748352 w 1375843"/>
                <a:gd name="connsiteY29" fmla="*/ 182890 h 232533"/>
                <a:gd name="connsiteX30" fmla="*/ 734105 w 1375843"/>
                <a:gd name="connsiteY30" fmla="*/ 171185 h 232533"/>
                <a:gd name="connsiteX31" fmla="*/ 715742 w 1375843"/>
                <a:gd name="connsiteY31" fmla="*/ 166756 h 232533"/>
                <a:gd name="connsiteX32" fmla="*/ 671096 w 1375843"/>
                <a:gd name="connsiteY32" fmla="*/ 118668 h 232533"/>
                <a:gd name="connsiteX33" fmla="*/ 731570 w 1375843"/>
                <a:gd name="connsiteY33" fmla="*/ 68048 h 232533"/>
                <a:gd name="connsiteX34" fmla="*/ 243314 w 1375843"/>
                <a:gd name="connsiteY34" fmla="*/ 68047 h 232533"/>
                <a:gd name="connsiteX35" fmla="*/ 323101 w 1375843"/>
                <a:gd name="connsiteY35" fmla="*/ 151569 h 232533"/>
                <a:gd name="connsiteX36" fmla="*/ 322466 w 1375843"/>
                <a:gd name="connsiteY36" fmla="*/ 162956 h 232533"/>
                <a:gd name="connsiteX37" fmla="*/ 207534 w 1375843"/>
                <a:gd name="connsiteY37" fmla="*/ 162956 h 232533"/>
                <a:gd name="connsiteX38" fmla="*/ 245213 w 1375843"/>
                <a:gd name="connsiteY38" fmla="*/ 194597 h 232533"/>
                <a:gd name="connsiteX39" fmla="*/ 278773 w 1375843"/>
                <a:gd name="connsiteY39" fmla="*/ 175613 h 232533"/>
                <a:gd name="connsiteX40" fmla="*/ 317719 w 1375843"/>
                <a:gd name="connsiteY40" fmla="*/ 191116 h 232533"/>
                <a:gd name="connsiteX41" fmla="*/ 245213 w 1375843"/>
                <a:gd name="connsiteY41" fmla="*/ 232560 h 232533"/>
                <a:gd name="connsiteX42" fmla="*/ 162260 w 1375843"/>
                <a:gd name="connsiteY42" fmla="*/ 150303 h 232533"/>
                <a:gd name="connsiteX43" fmla="*/ 243314 w 1375843"/>
                <a:gd name="connsiteY43" fmla="*/ 68047 h 232533"/>
                <a:gd name="connsiteX44" fmla="*/ 1002285 w 1375843"/>
                <a:gd name="connsiteY44" fmla="*/ 68047 h 232533"/>
                <a:gd name="connsiteX45" fmla="*/ 1082068 w 1375843"/>
                <a:gd name="connsiteY45" fmla="*/ 151569 h 232533"/>
                <a:gd name="connsiteX46" fmla="*/ 1081436 w 1375843"/>
                <a:gd name="connsiteY46" fmla="*/ 162956 h 232533"/>
                <a:gd name="connsiteX47" fmla="*/ 966504 w 1375843"/>
                <a:gd name="connsiteY47" fmla="*/ 162956 h 232533"/>
                <a:gd name="connsiteX48" fmla="*/ 1004183 w 1375843"/>
                <a:gd name="connsiteY48" fmla="*/ 194597 h 232533"/>
                <a:gd name="connsiteX49" fmla="*/ 1037743 w 1375843"/>
                <a:gd name="connsiteY49" fmla="*/ 175613 h 232533"/>
                <a:gd name="connsiteX50" fmla="*/ 1076689 w 1375843"/>
                <a:gd name="connsiteY50" fmla="*/ 191116 h 232533"/>
                <a:gd name="connsiteX51" fmla="*/ 1004183 w 1375843"/>
                <a:gd name="connsiteY51" fmla="*/ 232560 h 232533"/>
                <a:gd name="connsiteX52" fmla="*/ 921231 w 1375843"/>
                <a:gd name="connsiteY52" fmla="*/ 150303 h 232533"/>
                <a:gd name="connsiteX53" fmla="*/ 1002285 w 1375843"/>
                <a:gd name="connsiteY53" fmla="*/ 68047 h 232533"/>
                <a:gd name="connsiteX54" fmla="*/ 871424 w 1375843"/>
                <a:gd name="connsiteY54" fmla="*/ 26288 h 232533"/>
                <a:gd name="connsiteX55" fmla="*/ 871424 w 1375843"/>
                <a:gd name="connsiteY55" fmla="*/ 72161 h 232533"/>
                <a:gd name="connsiteX56" fmla="*/ 911002 w 1375843"/>
                <a:gd name="connsiteY56" fmla="*/ 72161 h 232533"/>
                <a:gd name="connsiteX57" fmla="*/ 911002 w 1375843"/>
                <a:gd name="connsiteY57" fmla="*/ 110124 h 232533"/>
                <a:gd name="connsiteX58" fmla="*/ 871424 w 1375843"/>
                <a:gd name="connsiteY58" fmla="*/ 110124 h 232533"/>
                <a:gd name="connsiteX59" fmla="*/ 871424 w 1375843"/>
                <a:gd name="connsiteY59" fmla="*/ 167388 h 232533"/>
                <a:gd name="connsiteX60" fmla="*/ 893906 w 1375843"/>
                <a:gd name="connsiteY60" fmla="*/ 190797 h 232533"/>
                <a:gd name="connsiteX61" fmla="*/ 911002 w 1375843"/>
                <a:gd name="connsiteY61" fmla="*/ 186054 h 232533"/>
                <a:gd name="connsiteX62" fmla="*/ 911002 w 1375843"/>
                <a:gd name="connsiteY62" fmla="*/ 225918 h 232533"/>
                <a:gd name="connsiteX63" fmla="*/ 878709 w 1375843"/>
                <a:gd name="connsiteY63" fmla="*/ 232241 h 232533"/>
                <a:gd name="connsiteX64" fmla="*/ 825515 w 1375843"/>
                <a:gd name="connsiteY64" fmla="*/ 177195 h 232533"/>
                <a:gd name="connsiteX65" fmla="*/ 825515 w 1375843"/>
                <a:gd name="connsiteY65" fmla="*/ 110124 h 232533"/>
                <a:gd name="connsiteX66" fmla="*/ 803351 w 1375843"/>
                <a:gd name="connsiteY66" fmla="*/ 110124 h 232533"/>
                <a:gd name="connsiteX67" fmla="*/ 803351 w 1375843"/>
                <a:gd name="connsiteY67" fmla="*/ 72161 h 232533"/>
                <a:gd name="connsiteX68" fmla="*/ 825515 w 1375843"/>
                <a:gd name="connsiteY68" fmla="*/ 72161 h 232533"/>
                <a:gd name="connsiteX69" fmla="*/ 825515 w 1375843"/>
                <a:gd name="connsiteY69" fmla="*/ 26288 h 232533"/>
                <a:gd name="connsiteX70" fmla="*/ 871424 w 1375843"/>
                <a:gd name="connsiteY70" fmla="*/ 26288 h 232533"/>
                <a:gd name="connsiteX71" fmla="*/ 1336417 w 1375843"/>
                <a:gd name="connsiteY71" fmla="*/ 26288 h 232533"/>
                <a:gd name="connsiteX72" fmla="*/ 1336417 w 1375843"/>
                <a:gd name="connsiteY72" fmla="*/ 72161 h 232533"/>
                <a:gd name="connsiteX73" fmla="*/ 1375991 w 1375843"/>
                <a:gd name="connsiteY73" fmla="*/ 72161 h 232533"/>
                <a:gd name="connsiteX74" fmla="*/ 1375991 w 1375843"/>
                <a:gd name="connsiteY74" fmla="*/ 110124 h 232533"/>
                <a:gd name="connsiteX75" fmla="*/ 1336417 w 1375843"/>
                <a:gd name="connsiteY75" fmla="*/ 110124 h 232533"/>
                <a:gd name="connsiteX76" fmla="*/ 1336417 w 1375843"/>
                <a:gd name="connsiteY76" fmla="*/ 167388 h 232533"/>
                <a:gd name="connsiteX77" fmla="*/ 1358899 w 1375843"/>
                <a:gd name="connsiteY77" fmla="*/ 190797 h 232533"/>
                <a:gd name="connsiteX78" fmla="*/ 1375991 w 1375843"/>
                <a:gd name="connsiteY78" fmla="*/ 186054 h 232533"/>
                <a:gd name="connsiteX79" fmla="*/ 1375991 w 1375843"/>
                <a:gd name="connsiteY79" fmla="*/ 225918 h 232533"/>
                <a:gd name="connsiteX80" fmla="*/ 1343698 w 1375843"/>
                <a:gd name="connsiteY80" fmla="*/ 232241 h 232533"/>
                <a:gd name="connsiteX81" fmla="*/ 1290504 w 1375843"/>
                <a:gd name="connsiteY81" fmla="*/ 177195 h 232533"/>
                <a:gd name="connsiteX82" fmla="*/ 1290504 w 1375843"/>
                <a:gd name="connsiteY82" fmla="*/ 110124 h 232533"/>
                <a:gd name="connsiteX83" fmla="*/ 1268344 w 1375843"/>
                <a:gd name="connsiteY83" fmla="*/ 110124 h 232533"/>
                <a:gd name="connsiteX84" fmla="*/ 1268344 w 1375843"/>
                <a:gd name="connsiteY84" fmla="*/ 72161 h 232533"/>
                <a:gd name="connsiteX85" fmla="*/ 1290504 w 1375843"/>
                <a:gd name="connsiteY85" fmla="*/ 72161 h 232533"/>
                <a:gd name="connsiteX86" fmla="*/ 1290504 w 1375843"/>
                <a:gd name="connsiteY86" fmla="*/ 26288 h 232533"/>
                <a:gd name="connsiteX87" fmla="*/ 1336417 w 1375843"/>
                <a:gd name="connsiteY87" fmla="*/ 26288 h 232533"/>
                <a:gd name="connsiteX88" fmla="*/ 75506 w 1375843"/>
                <a:gd name="connsiteY88" fmla="*/ 6990 h 232533"/>
                <a:gd name="connsiteX89" fmla="*/ 156874 w 1375843"/>
                <a:gd name="connsiteY89" fmla="*/ 78487 h 232533"/>
                <a:gd name="connsiteX90" fmla="*/ 75506 w 1375843"/>
                <a:gd name="connsiteY90" fmla="*/ 149988 h 232533"/>
                <a:gd name="connsiteX91" fmla="*/ 47642 w 1375843"/>
                <a:gd name="connsiteY91" fmla="*/ 149988 h 232533"/>
                <a:gd name="connsiteX92" fmla="*/ 47642 w 1375843"/>
                <a:gd name="connsiteY92" fmla="*/ 228446 h 232533"/>
                <a:gd name="connsiteX93" fmla="*/ 148 w 1375843"/>
                <a:gd name="connsiteY93" fmla="*/ 228446 h 232533"/>
                <a:gd name="connsiteX94" fmla="*/ 148 w 1375843"/>
                <a:gd name="connsiteY94" fmla="*/ 6990 h 232533"/>
                <a:gd name="connsiteX95" fmla="*/ 75506 w 1375843"/>
                <a:gd name="connsiteY95" fmla="*/ 6990 h 232533"/>
                <a:gd name="connsiteX96" fmla="*/ 436104 w 1375843"/>
                <a:gd name="connsiteY96" fmla="*/ 68680 h 232533"/>
                <a:gd name="connsiteX97" fmla="*/ 444020 w 1375843"/>
                <a:gd name="connsiteY97" fmla="*/ 69629 h 232533"/>
                <a:gd name="connsiteX98" fmla="*/ 444020 w 1375843"/>
                <a:gd name="connsiteY98" fmla="*/ 117085 h 232533"/>
                <a:gd name="connsiteX99" fmla="*/ 432302 w 1375843"/>
                <a:gd name="connsiteY99" fmla="*/ 115188 h 232533"/>
                <a:gd name="connsiteX100" fmla="*/ 391461 w 1375843"/>
                <a:gd name="connsiteY100" fmla="*/ 164856 h 232533"/>
                <a:gd name="connsiteX101" fmla="*/ 391461 w 1375843"/>
                <a:gd name="connsiteY101" fmla="*/ 228446 h 232533"/>
                <a:gd name="connsiteX102" fmla="*/ 345552 w 1375843"/>
                <a:gd name="connsiteY102" fmla="*/ 228446 h 232533"/>
                <a:gd name="connsiteX103" fmla="*/ 345552 w 1375843"/>
                <a:gd name="connsiteY103" fmla="*/ 72161 h 232533"/>
                <a:gd name="connsiteX104" fmla="*/ 391144 w 1375843"/>
                <a:gd name="connsiteY104" fmla="*/ 72161 h 232533"/>
                <a:gd name="connsiteX105" fmla="*/ 391144 w 1375843"/>
                <a:gd name="connsiteY105" fmla="*/ 97788 h 232533"/>
                <a:gd name="connsiteX106" fmla="*/ 436104 w 1375843"/>
                <a:gd name="connsiteY106" fmla="*/ 68680 h 232533"/>
                <a:gd name="connsiteX107" fmla="*/ 646753 w 1375843"/>
                <a:gd name="connsiteY107" fmla="*/ 72159 h 232533"/>
                <a:gd name="connsiteX108" fmla="*/ 646753 w 1375843"/>
                <a:gd name="connsiteY108" fmla="*/ 228445 h 232533"/>
                <a:gd name="connsiteX109" fmla="*/ 600526 w 1375843"/>
                <a:gd name="connsiteY109" fmla="*/ 228445 h 232533"/>
                <a:gd name="connsiteX110" fmla="*/ 600526 w 1375843"/>
                <a:gd name="connsiteY110" fmla="*/ 72159 h 232533"/>
                <a:gd name="connsiteX111" fmla="*/ 646753 w 1375843"/>
                <a:gd name="connsiteY111" fmla="*/ 72159 h 232533"/>
                <a:gd name="connsiteX112" fmla="*/ 1196977 w 1375843"/>
                <a:gd name="connsiteY112" fmla="*/ 68048 h 232533"/>
                <a:gd name="connsiteX113" fmla="*/ 1254603 w 1375843"/>
                <a:gd name="connsiteY113" fmla="*/ 131957 h 232533"/>
                <a:gd name="connsiteX114" fmla="*/ 1254603 w 1375843"/>
                <a:gd name="connsiteY114" fmla="*/ 228446 h 232533"/>
                <a:gd name="connsiteX115" fmla="*/ 1208373 w 1375843"/>
                <a:gd name="connsiteY115" fmla="*/ 228446 h 232533"/>
                <a:gd name="connsiteX116" fmla="*/ 1208373 w 1375843"/>
                <a:gd name="connsiteY116" fmla="*/ 142709 h 232533"/>
                <a:gd name="connsiteX117" fmla="*/ 1180195 w 1375843"/>
                <a:gd name="connsiteY117" fmla="*/ 110441 h 232533"/>
                <a:gd name="connsiteX118" fmla="*/ 1150750 w 1375843"/>
                <a:gd name="connsiteY118" fmla="*/ 145558 h 232533"/>
                <a:gd name="connsiteX119" fmla="*/ 1150750 w 1375843"/>
                <a:gd name="connsiteY119" fmla="*/ 228446 h 232533"/>
                <a:gd name="connsiteX120" fmla="*/ 1104523 w 1375843"/>
                <a:gd name="connsiteY120" fmla="*/ 228446 h 232533"/>
                <a:gd name="connsiteX121" fmla="*/ 1104523 w 1375843"/>
                <a:gd name="connsiteY121" fmla="*/ 72160 h 232533"/>
                <a:gd name="connsiteX122" fmla="*/ 1150750 w 1375843"/>
                <a:gd name="connsiteY122" fmla="*/ 72160 h 232533"/>
                <a:gd name="connsiteX123" fmla="*/ 1150750 w 1375843"/>
                <a:gd name="connsiteY123" fmla="*/ 92092 h 232533"/>
                <a:gd name="connsiteX124" fmla="*/ 1196977 w 1375843"/>
                <a:gd name="connsiteY124" fmla="*/ 68048 h 232533"/>
                <a:gd name="connsiteX125" fmla="*/ 242996 w 1375843"/>
                <a:gd name="connsiteY125" fmla="*/ 104116 h 232533"/>
                <a:gd name="connsiteX126" fmla="*/ 207851 w 1375843"/>
                <a:gd name="connsiteY126" fmla="*/ 132903 h 232533"/>
                <a:gd name="connsiteX127" fmla="*/ 277823 w 1375843"/>
                <a:gd name="connsiteY127" fmla="*/ 132903 h 232533"/>
                <a:gd name="connsiteX128" fmla="*/ 242996 w 1375843"/>
                <a:gd name="connsiteY128" fmla="*/ 104116 h 232533"/>
                <a:gd name="connsiteX129" fmla="*/ 1001967 w 1375843"/>
                <a:gd name="connsiteY129" fmla="*/ 104116 h 232533"/>
                <a:gd name="connsiteX130" fmla="*/ 966822 w 1375843"/>
                <a:gd name="connsiteY130" fmla="*/ 132903 h 232533"/>
                <a:gd name="connsiteX131" fmla="*/ 1036794 w 1375843"/>
                <a:gd name="connsiteY131" fmla="*/ 132903 h 232533"/>
                <a:gd name="connsiteX132" fmla="*/ 1001967 w 1375843"/>
                <a:gd name="connsiteY132" fmla="*/ 104116 h 232533"/>
                <a:gd name="connsiteX133" fmla="*/ 76452 w 1375843"/>
                <a:gd name="connsiteY133" fmla="*/ 49700 h 232533"/>
                <a:gd name="connsiteX134" fmla="*/ 47642 w 1375843"/>
                <a:gd name="connsiteY134" fmla="*/ 49700 h 232533"/>
                <a:gd name="connsiteX135" fmla="*/ 47642 w 1375843"/>
                <a:gd name="connsiteY135" fmla="*/ 107909 h 232533"/>
                <a:gd name="connsiteX136" fmla="*/ 76452 w 1375843"/>
                <a:gd name="connsiteY136" fmla="*/ 107909 h 232533"/>
                <a:gd name="connsiteX137" fmla="*/ 109066 w 1375843"/>
                <a:gd name="connsiteY137" fmla="*/ 78805 h 232533"/>
                <a:gd name="connsiteX138" fmla="*/ 76452 w 1375843"/>
                <a:gd name="connsiteY138" fmla="*/ 49700 h 232533"/>
                <a:gd name="connsiteX139" fmla="*/ 623640 w 1375843"/>
                <a:gd name="connsiteY139" fmla="*/ 27 h 232533"/>
                <a:gd name="connsiteX140" fmla="*/ 650551 w 1375843"/>
                <a:gd name="connsiteY140" fmla="*/ 26917 h 232533"/>
                <a:gd name="connsiteX141" fmla="*/ 623640 w 1375843"/>
                <a:gd name="connsiteY141" fmla="*/ 53810 h 232533"/>
                <a:gd name="connsiteX142" fmla="*/ 596729 w 1375843"/>
                <a:gd name="connsiteY142" fmla="*/ 26917 h 232533"/>
                <a:gd name="connsiteX143" fmla="*/ 623640 w 1375843"/>
                <a:gd name="connsiteY143" fmla="*/ 27 h 23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375843" h="232533">
                  <a:moveTo>
                    <a:pt x="516051" y="68048"/>
                  </a:moveTo>
                  <a:cubicBezTo>
                    <a:pt x="542966" y="68048"/>
                    <a:pt x="568292" y="82598"/>
                    <a:pt x="578107" y="104431"/>
                  </a:cubicBezTo>
                  <a:lnTo>
                    <a:pt x="540432" y="124363"/>
                  </a:lnTo>
                  <a:cubicBezTo>
                    <a:pt x="535681" y="112655"/>
                    <a:pt x="525231" y="105062"/>
                    <a:pt x="515734" y="105062"/>
                  </a:cubicBezTo>
                  <a:cubicBezTo>
                    <a:pt x="507186" y="105062"/>
                    <a:pt x="501172" y="109492"/>
                    <a:pt x="501172" y="115818"/>
                  </a:cubicBezTo>
                  <a:cubicBezTo>
                    <a:pt x="501172" y="121514"/>
                    <a:pt x="505605" y="125626"/>
                    <a:pt x="514153" y="127840"/>
                  </a:cubicBezTo>
                  <a:lnTo>
                    <a:pt x="533783" y="132904"/>
                  </a:lnTo>
                  <a:cubicBezTo>
                    <a:pt x="563228" y="140497"/>
                    <a:pt x="579056" y="156948"/>
                    <a:pt x="579056" y="179095"/>
                  </a:cubicBezTo>
                  <a:cubicBezTo>
                    <a:pt x="579056" y="210414"/>
                    <a:pt x="552463" y="232561"/>
                    <a:pt x="516051" y="232561"/>
                  </a:cubicBezTo>
                  <a:cubicBezTo>
                    <a:pt x="485022" y="232561"/>
                    <a:pt x="460327" y="218324"/>
                    <a:pt x="449877" y="194280"/>
                  </a:cubicBezTo>
                  <a:lnTo>
                    <a:pt x="487238" y="173713"/>
                  </a:lnTo>
                  <a:cubicBezTo>
                    <a:pt x="492938" y="186688"/>
                    <a:pt x="504655" y="194912"/>
                    <a:pt x="516369" y="194912"/>
                  </a:cubicBezTo>
                  <a:cubicBezTo>
                    <a:pt x="526184" y="194912"/>
                    <a:pt x="532833" y="190482"/>
                    <a:pt x="532833" y="182890"/>
                  </a:cubicBezTo>
                  <a:cubicBezTo>
                    <a:pt x="532833" y="177512"/>
                    <a:pt x="528083" y="173396"/>
                    <a:pt x="518585" y="171185"/>
                  </a:cubicBezTo>
                  <a:lnTo>
                    <a:pt x="500222" y="166756"/>
                  </a:lnTo>
                  <a:cubicBezTo>
                    <a:pt x="470777" y="159794"/>
                    <a:pt x="455577" y="143343"/>
                    <a:pt x="455577" y="118668"/>
                  </a:cubicBezTo>
                  <a:cubicBezTo>
                    <a:pt x="455577" y="88928"/>
                    <a:pt x="480275" y="68048"/>
                    <a:pt x="516051" y="68048"/>
                  </a:cubicBezTo>
                  <a:close/>
                  <a:moveTo>
                    <a:pt x="731570" y="68048"/>
                  </a:moveTo>
                  <a:cubicBezTo>
                    <a:pt x="758485" y="68048"/>
                    <a:pt x="783815" y="82598"/>
                    <a:pt x="793630" y="104431"/>
                  </a:cubicBezTo>
                  <a:lnTo>
                    <a:pt x="755951" y="124363"/>
                  </a:lnTo>
                  <a:cubicBezTo>
                    <a:pt x="751204" y="112655"/>
                    <a:pt x="740754" y="105062"/>
                    <a:pt x="731253" y="105062"/>
                  </a:cubicBezTo>
                  <a:cubicBezTo>
                    <a:pt x="722705" y="105062"/>
                    <a:pt x="716691" y="109492"/>
                    <a:pt x="716691" y="115818"/>
                  </a:cubicBezTo>
                  <a:cubicBezTo>
                    <a:pt x="716691" y="121514"/>
                    <a:pt x="721124" y="125626"/>
                    <a:pt x="729672" y="127840"/>
                  </a:cubicBezTo>
                  <a:lnTo>
                    <a:pt x="749302" y="132904"/>
                  </a:lnTo>
                  <a:cubicBezTo>
                    <a:pt x="778751" y="140497"/>
                    <a:pt x="794579" y="156948"/>
                    <a:pt x="794579" y="179095"/>
                  </a:cubicBezTo>
                  <a:cubicBezTo>
                    <a:pt x="794579" y="210414"/>
                    <a:pt x="767982" y="232561"/>
                    <a:pt x="731570" y="232561"/>
                  </a:cubicBezTo>
                  <a:cubicBezTo>
                    <a:pt x="700544" y="232561"/>
                    <a:pt x="675846" y="218324"/>
                    <a:pt x="665400" y="194280"/>
                  </a:cubicBezTo>
                  <a:lnTo>
                    <a:pt x="702761" y="173713"/>
                  </a:lnTo>
                  <a:cubicBezTo>
                    <a:pt x="708461" y="186688"/>
                    <a:pt x="720174" y="194912"/>
                    <a:pt x="731888" y="194912"/>
                  </a:cubicBezTo>
                  <a:cubicBezTo>
                    <a:pt x="741703" y="194912"/>
                    <a:pt x="748352" y="190482"/>
                    <a:pt x="748352" y="182890"/>
                  </a:cubicBezTo>
                  <a:cubicBezTo>
                    <a:pt x="748352" y="177512"/>
                    <a:pt x="743602" y="173396"/>
                    <a:pt x="734105" y="171185"/>
                  </a:cubicBezTo>
                  <a:lnTo>
                    <a:pt x="715742" y="166756"/>
                  </a:lnTo>
                  <a:cubicBezTo>
                    <a:pt x="686297" y="159794"/>
                    <a:pt x="671096" y="143343"/>
                    <a:pt x="671096" y="118668"/>
                  </a:cubicBezTo>
                  <a:cubicBezTo>
                    <a:pt x="671096" y="88928"/>
                    <a:pt x="695794" y="68048"/>
                    <a:pt x="731570" y="68048"/>
                  </a:cubicBezTo>
                  <a:close/>
                  <a:moveTo>
                    <a:pt x="243314" y="68047"/>
                  </a:moveTo>
                  <a:cubicBezTo>
                    <a:pt x="290490" y="68047"/>
                    <a:pt x="323101" y="102533"/>
                    <a:pt x="323101" y="151569"/>
                  </a:cubicBezTo>
                  <a:cubicBezTo>
                    <a:pt x="323101" y="156947"/>
                    <a:pt x="322783" y="161059"/>
                    <a:pt x="322466" y="162956"/>
                  </a:cubicBezTo>
                  <a:lnTo>
                    <a:pt x="207534" y="162956"/>
                  </a:lnTo>
                  <a:cubicBezTo>
                    <a:pt x="209118" y="181305"/>
                    <a:pt x="225897" y="194597"/>
                    <a:pt x="245213" y="194597"/>
                  </a:cubicBezTo>
                  <a:cubicBezTo>
                    <a:pt x="262309" y="194597"/>
                    <a:pt x="271492" y="187318"/>
                    <a:pt x="278773" y="175613"/>
                  </a:cubicBezTo>
                  <a:lnTo>
                    <a:pt x="317719" y="191116"/>
                  </a:lnTo>
                  <a:cubicBezTo>
                    <a:pt x="304738" y="216740"/>
                    <a:pt x="279408" y="232560"/>
                    <a:pt x="245213" y="232560"/>
                  </a:cubicBezTo>
                  <a:cubicBezTo>
                    <a:pt x="196452" y="232560"/>
                    <a:pt x="162260" y="198709"/>
                    <a:pt x="162260" y="150303"/>
                  </a:cubicBezTo>
                  <a:cubicBezTo>
                    <a:pt x="162260" y="103168"/>
                    <a:pt x="197087" y="68047"/>
                    <a:pt x="243314" y="68047"/>
                  </a:cubicBezTo>
                  <a:close/>
                  <a:moveTo>
                    <a:pt x="1002285" y="68047"/>
                  </a:moveTo>
                  <a:cubicBezTo>
                    <a:pt x="1049457" y="68047"/>
                    <a:pt x="1082068" y="102533"/>
                    <a:pt x="1082068" y="151569"/>
                  </a:cubicBezTo>
                  <a:cubicBezTo>
                    <a:pt x="1082068" y="156947"/>
                    <a:pt x="1081754" y="161059"/>
                    <a:pt x="1081436" y="162956"/>
                  </a:cubicBezTo>
                  <a:lnTo>
                    <a:pt x="966504" y="162956"/>
                  </a:lnTo>
                  <a:cubicBezTo>
                    <a:pt x="968089" y="181305"/>
                    <a:pt x="984871" y="194597"/>
                    <a:pt x="1004183" y="194597"/>
                  </a:cubicBezTo>
                  <a:cubicBezTo>
                    <a:pt x="1021279" y="194597"/>
                    <a:pt x="1030463" y="187318"/>
                    <a:pt x="1037743" y="175613"/>
                  </a:cubicBezTo>
                  <a:lnTo>
                    <a:pt x="1076689" y="191116"/>
                  </a:lnTo>
                  <a:cubicBezTo>
                    <a:pt x="1063709" y="216740"/>
                    <a:pt x="1038379" y="232560"/>
                    <a:pt x="1004183" y="232560"/>
                  </a:cubicBezTo>
                  <a:cubicBezTo>
                    <a:pt x="955422" y="232560"/>
                    <a:pt x="921231" y="198709"/>
                    <a:pt x="921231" y="150303"/>
                  </a:cubicBezTo>
                  <a:cubicBezTo>
                    <a:pt x="921231" y="103168"/>
                    <a:pt x="956058" y="68047"/>
                    <a:pt x="1002285" y="68047"/>
                  </a:cubicBezTo>
                  <a:close/>
                  <a:moveTo>
                    <a:pt x="871424" y="26288"/>
                  </a:moveTo>
                  <a:lnTo>
                    <a:pt x="871424" y="72161"/>
                  </a:lnTo>
                  <a:lnTo>
                    <a:pt x="911002" y="72161"/>
                  </a:lnTo>
                  <a:lnTo>
                    <a:pt x="911002" y="110124"/>
                  </a:lnTo>
                  <a:lnTo>
                    <a:pt x="871424" y="110124"/>
                  </a:lnTo>
                  <a:lnTo>
                    <a:pt x="871424" y="167388"/>
                  </a:lnTo>
                  <a:cubicBezTo>
                    <a:pt x="871424" y="184157"/>
                    <a:pt x="878709" y="190797"/>
                    <a:pt x="893906" y="190797"/>
                  </a:cubicBezTo>
                  <a:cubicBezTo>
                    <a:pt x="899606" y="190797"/>
                    <a:pt x="905934" y="189217"/>
                    <a:pt x="911002" y="186054"/>
                  </a:cubicBezTo>
                  <a:lnTo>
                    <a:pt x="911002" y="225918"/>
                  </a:lnTo>
                  <a:cubicBezTo>
                    <a:pt x="904039" y="229395"/>
                    <a:pt x="893589" y="232241"/>
                    <a:pt x="878709" y="232241"/>
                  </a:cubicBezTo>
                  <a:cubicBezTo>
                    <a:pt x="845777" y="232241"/>
                    <a:pt x="825515" y="211995"/>
                    <a:pt x="825515" y="177195"/>
                  </a:cubicBezTo>
                  <a:lnTo>
                    <a:pt x="825515" y="110124"/>
                  </a:lnTo>
                  <a:lnTo>
                    <a:pt x="803351" y="110124"/>
                  </a:lnTo>
                  <a:lnTo>
                    <a:pt x="803351" y="72161"/>
                  </a:lnTo>
                  <a:lnTo>
                    <a:pt x="825515" y="72161"/>
                  </a:lnTo>
                  <a:lnTo>
                    <a:pt x="825515" y="26288"/>
                  </a:lnTo>
                  <a:lnTo>
                    <a:pt x="871424" y="26288"/>
                  </a:lnTo>
                  <a:close/>
                  <a:moveTo>
                    <a:pt x="1336417" y="26288"/>
                  </a:moveTo>
                  <a:lnTo>
                    <a:pt x="1336417" y="72161"/>
                  </a:lnTo>
                  <a:lnTo>
                    <a:pt x="1375991" y="72161"/>
                  </a:lnTo>
                  <a:lnTo>
                    <a:pt x="1375991" y="110124"/>
                  </a:lnTo>
                  <a:lnTo>
                    <a:pt x="1336417" y="110124"/>
                  </a:lnTo>
                  <a:lnTo>
                    <a:pt x="1336417" y="167388"/>
                  </a:lnTo>
                  <a:cubicBezTo>
                    <a:pt x="1336417" y="184157"/>
                    <a:pt x="1343698" y="190797"/>
                    <a:pt x="1358899" y="190797"/>
                  </a:cubicBezTo>
                  <a:cubicBezTo>
                    <a:pt x="1364595" y="190797"/>
                    <a:pt x="1370927" y="189217"/>
                    <a:pt x="1375991" y="186054"/>
                  </a:cubicBezTo>
                  <a:lnTo>
                    <a:pt x="1375991" y="225918"/>
                  </a:lnTo>
                  <a:cubicBezTo>
                    <a:pt x="1369028" y="229395"/>
                    <a:pt x="1358578" y="232241"/>
                    <a:pt x="1343698" y="232241"/>
                  </a:cubicBezTo>
                  <a:cubicBezTo>
                    <a:pt x="1310770" y="232241"/>
                    <a:pt x="1290504" y="211995"/>
                    <a:pt x="1290504" y="177195"/>
                  </a:cubicBezTo>
                  <a:lnTo>
                    <a:pt x="1290504" y="110124"/>
                  </a:lnTo>
                  <a:lnTo>
                    <a:pt x="1268344" y="110124"/>
                  </a:lnTo>
                  <a:lnTo>
                    <a:pt x="1268344" y="72161"/>
                  </a:lnTo>
                  <a:lnTo>
                    <a:pt x="1290504" y="72161"/>
                  </a:lnTo>
                  <a:lnTo>
                    <a:pt x="1290504" y="26288"/>
                  </a:lnTo>
                  <a:lnTo>
                    <a:pt x="1336417" y="26288"/>
                  </a:lnTo>
                  <a:close/>
                  <a:moveTo>
                    <a:pt x="75506" y="6990"/>
                  </a:moveTo>
                  <a:cubicBezTo>
                    <a:pt x="123632" y="6990"/>
                    <a:pt x="156874" y="32932"/>
                    <a:pt x="156874" y="78487"/>
                  </a:cubicBezTo>
                  <a:cubicBezTo>
                    <a:pt x="156874" y="123729"/>
                    <a:pt x="123632" y="149988"/>
                    <a:pt x="75506" y="149988"/>
                  </a:cubicBezTo>
                  <a:lnTo>
                    <a:pt x="47642" y="149988"/>
                  </a:lnTo>
                  <a:lnTo>
                    <a:pt x="47642" y="228446"/>
                  </a:lnTo>
                  <a:lnTo>
                    <a:pt x="148" y="228446"/>
                  </a:lnTo>
                  <a:lnTo>
                    <a:pt x="148" y="6990"/>
                  </a:lnTo>
                  <a:lnTo>
                    <a:pt x="75506" y="6990"/>
                  </a:lnTo>
                  <a:close/>
                  <a:moveTo>
                    <a:pt x="436104" y="68680"/>
                  </a:moveTo>
                  <a:cubicBezTo>
                    <a:pt x="439587" y="68680"/>
                    <a:pt x="443070" y="69311"/>
                    <a:pt x="444020" y="69629"/>
                  </a:cubicBezTo>
                  <a:lnTo>
                    <a:pt x="444020" y="117085"/>
                  </a:lnTo>
                  <a:cubicBezTo>
                    <a:pt x="441486" y="115819"/>
                    <a:pt x="437053" y="115188"/>
                    <a:pt x="432302" y="115188"/>
                  </a:cubicBezTo>
                  <a:cubicBezTo>
                    <a:pt x="406659" y="115188"/>
                    <a:pt x="391461" y="134168"/>
                    <a:pt x="391461" y="164856"/>
                  </a:cubicBezTo>
                  <a:lnTo>
                    <a:pt x="391461" y="228446"/>
                  </a:lnTo>
                  <a:lnTo>
                    <a:pt x="345552" y="228446"/>
                  </a:lnTo>
                  <a:lnTo>
                    <a:pt x="345552" y="72161"/>
                  </a:lnTo>
                  <a:lnTo>
                    <a:pt x="391144" y="72161"/>
                  </a:lnTo>
                  <a:lnTo>
                    <a:pt x="391144" y="97788"/>
                  </a:lnTo>
                  <a:cubicBezTo>
                    <a:pt x="399378" y="79753"/>
                    <a:pt x="415838" y="68680"/>
                    <a:pt x="436104" y="68680"/>
                  </a:cubicBezTo>
                  <a:close/>
                  <a:moveTo>
                    <a:pt x="646753" y="72159"/>
                  </a:moveTo>
                  <a:lnTo>
                    <a:pt x="646753" y="228445"/>
                  </a:lnTo>
                  <a:lnTo>
                    <a:pt x="600526" y="228445"/>
                  </a:lnTo>
                  <a:lnTo>
                    <a:pt x="600526" y="72159"/>
                  </a:lnTo>
                  <a:lnTo>
                    <a:pt x="646753" y="72159"/>
                  </a:lnTo>
                  <a:close/>
                  <a:moveTo>
                    <a:pt x="1196977" y="68048"/>
                  </a:moveTo>
                  <a:cubicBezTo>
                    <a:pt x="1232753" y="68048"/>
                    <a:pt x="1254603" y="92406"/>
                    <a:pt x="1254603" y="131957"/>
                  </a:cubicBezTo>
                  <a:lnTo>
                    <a:pt x="1254603" y="228446"/>
                  </a:lnTo>
                  <a:lnTo>
                    <a:pt x="1208373" y="228446"/>
                  </a:lnTo>
                  <a:lnTo>
                    <a:pt x="1208373" y="142709"/>
                  </a:lnTo>
                  <a:cubicBezTo>
                    <a:pt x="1208373" y="122149"/>
                    <a:pt x="1198244" y="110441"/>
                    <a:pt x="1180195" y="110441"/>
                  </a:cubicBezTo>
                  <a:cubicBezTo>
                    <a:pt x="1162464" y="110441"/>
                    <a:pt x="1150750" y="123729"/>
                    <a:pt x="1150750" y="145558"/>
                  </a:cubicBezTo>
                  <a:lnTo>
                    <a:pt x="1150750" y="228446"/>
                  </a:lnTo>
                  <a:lnTo>
                    <a:pt x="1104523" y="228446"/>
                  </a:lnTo>
                  <a:lnTo>
                    <a:pt x="1104523" y="72160"/>
                  </a:lnTo>
                  <a:lnTo>
                    <a:pt x="1150750" y="72160"/>
                  </a:lnTo>
                  <a:lnTo>
                    <a:pt x="1150750" y="92092"/>
                  </a:lnTo>
                  <a:cubicBezTo>
                    <a:pt x="1160251" y="76907"/>
                    <a:pt x="1176080" y="68048"/>
                    <a:pt x="1196977" y="68048"/>
                  </a:cubicBezTo>
                  <a:close/>
                  <a:moveTo>
                    <a:pt x="242996" y="104116"/>
                  </a:moveTo>
                  <a:cubicBezTo>
                    <a:pt x="224633" y="104116"/>
                    <a:pt x="209750" y="118035"/>
                    <a:pt x="207851" y="132903"/>
                  </a:cubicBezTo>
                  <a:lnTo>
                    <a:pt x="277823" y="132903"/>
                  </a:lnTo>
                  <a:cubicBezTo>
                    <a:pt x="275925" y="116138"/>
                    <a:pt x="261677" y="104116"/>
                    <a:pt x="242996" y="104116"/>
                  </a:cubicBezTo>
                  <a:close/>
                  <a:moveTo>
                    <a:pt x="1001967" y="104116"/>
                  </a:moveTo>
                  <a:cubicBezTo>
                    <a:pt x="983604" y="104116"/>
                    <a:pt x="968721" y="118035"/>
                    <a:pt x="966822" y="132903"/>
                  </a:cubicBezTo>
                  <a:lnTo>
                    <a:pt x="1036794" y="132903"/>
                  </a:lnTo>
                  <a:cubicBezTo>
                    <a:pt x="1034895" y="116138"/>
                    <a:pt x="1020648" y="104116"/>
                    <a:pt x="1001967" y="104116"/>
                  </a:cubicBezTo>
                  <a:close/>
                  <a:moveTo>
                    <a:pt x="76452" y="49700"/>
                  </a:moveTo>
                  <a:lnTo>
                    <a:pt x="47642" y="49700"/>
                  </a:lnTo>
                  <a:lnTo>
                    <a:pt x="47642" y="107909"/>
                  </a:lnTo>
                  <a:lnTo>
                    <a:pt x="76452" y="107909"/>
                  </a:lnTo>
                  <a:cubicBezTo>
                    <a:pt x="95450" y="107909"/>
                    <a:pt x="109066" y="97153"/>
                    <a:pt x="109066" y="78805"/>
                  </a:cubicBezTo>
                  <a:cubicBezTo>
                    <a:pt x="109066" y="60456"/>
                    <a:pt x="95450" y="49700"/>
                    <a:pt x="76452" y="49700"/>
                  </a:cubicBezTo>
                  <a:close/>
                  <a:moveTo>
                    <a:pt x="623640" y="27"/>
                  </a:moveTo>
                  <a:cubicBezTo>
                    <a:pt x="638519" y="27"/>
                    <a:pt x="650551" y="12366"/>
                    <a:pt x="650551" y="26917"/>
                  </a:cubicBezTo>
                  <a:cubicBezTo>
                    <a:pt x="650551" y="41471"/>
                    <a:pt x="638519" y="53810"/>
                    <a:pt x="623640" y="53810"/>
                  </a:cubicBezTo>
                  <a:cubicBezTo>
                    <a:pt x="608757" y="53810"/>
                    <a:pt x="596729" y="41471"/>
                    <a:pt x="596729" y="26917"/>
                  </a:cubicBezTo>
                  <a:cubicBezTo>
                    <a:pt x="596729" y="12366"/>
                    <a:pt x="608757" y="27"/>
                    <a:pt x="623640" y="27"/>
                  </a:cubicBezTo>
                  <a:close/>
                </a:path>
              </a:pathLst>
            </a:custGeom>
            <a:solidFill>
              <a:schemeClr val="bg2"/>
            </a:solidFill>
            <a:ln w="3905" cap="flat">
              <a:noFill/>
              <a:prstDash val="solid"/>
              <a:miter/>
            </a:ln>
          </p:spPr>
          <p:txBody>
            <a:bodyPr rtlCol="0" anchor="ctr"/>
            <a:lstStyle/>
            <a:p>
              <a:endParaRPr lang="en-US" dirty="0"/>
            </a:p>
          </p:txBody>
        </p:sp>
        <p:sp>
          <p:nvSpPr>
            <p:cNvPr id="15" name="Graphic 6">
              <a:extLst>
                <a:ext uri="{FF2B5EF4-FFF2-40B4-BE49-F238E27FC236}">
                  <a16:creationId xmlns:a16="http://schemas.microsoft.com/office/drawing/2014/main" id="{E6E161B3-F246-40A7-8959-EC47B5798CA2}"/>
                </a:ext>
              </a:extLst>
            </p:cNvPr>
            <p:cNvSpPr/>
            <p:nvPr/>
          </p:nvSpPr>
          <p:spPr>
            <a:xfrm>
              <a:off x="3721526" y="2201333"/>
              <a:ext cx="410808" cy="439199"/>
            </a:xfrm>
            <a:custGeom>
              <a:avLst/>
              <a:gdLst>
                <a:gd name="connsiteX0" fmla="*/ 405227 w 410808"/>
                <a:gd name="connsiteY0" fmla="*/ 72915 h 439199"/>
                <a:gd name="connsiteX1" fmla="*/ 383294 w 410808"/>
                <a:gd name="connsiteY1" fmla="*/ 34663 h 439199"/>
                <a:gd name="connsiteX2" fmla="*/ 348424 w 410808"/>
                <a:gd name="connsiteY2" fmla="*/ 8998 h 439199"/>
                <a:gd name="connsiteX3" fmla="*/ 265296 w 410808"/>
                <a:gd name="connsiteY3" fmla="*/ 8948 h 439199"/>
                <a:gd name="connsiteX4" fmla="*/ 209272 w 410808"/>
                <a:gd name="connsiteY4" fmla="*/ 71420 h 439199"/>
                <a:gd name="connsiteX5" fmla="*/ 204362 w 410808"/>
                <a:gd name="connsiteY5" fmla="*/ 92591 h 439199"/>
                <a:gd name="connsiteX6" fmla="*/ 203494 w 410808"/>
                <a:gd name="connsiteY6" fmla="*/ 113947 h 439199"/>
                <a:gd name="connsiteX7" fmla="*/ 203862 w 410808"/>
                <a:gd name="connsiteY7" fmla="*/ 155087 h 439199"/>
                <a:gd name="connsiteX8" fmla="*/ 204482 w 410808"/>
                <a:gd name="connsiteY8" fmla="*/ 237371 h 439199"/>
                <a:gd name="connsiteX9" fmla="*/ 204703 w 410808"/>
                <a:gd name="connsiteY9" fmla="*/ 278511 h 439199"/>
                <a:gd name="connsiteX10" fmla="*/ 204760 w 410808"/>
                <a:gd name="connsiteY10" fmla="*/ 299081 h 439199"/>
                <a:gd name="connsiteX11" fmla="*/ 204892 w 410808"/>
                <a:gd name="connsiteY11" fmla="*/ 309309 h 439199"/>
                <a:gd name="connsiteX12" fmla="*/ 204642 w 410808"/>
                <a:gd name="connsiteY12" fmla="*/ 319233 h 439199"/>
                <a:gd name="connsiteX13" fmla="*/ 202117 w 410808"/>
                <a:gd name="connsiteY13" fmla="*/ 339029 h 439199"/>
                <a:gd name="connsiteX14" fmla="*/ 195891 w 410808"/>
                <a:gd name="connsiteY14" fmla="*/ 358138 h 439199"/>
                <a:gd name="connsiteX15" fmla="*/ 172778 w 410808"/>
                <a:gd name="connsiteY15" fmla="*/ 390919 h 439199"/>
                <a:gd name="connsiteX16" fmla="*/ 99701 w 410808"/>
                <a:gd name="connsiteY16" fmla="*/ 416828 h 439199"/>
                <a:gd name="connsiteX17" fmla="*/ 61780 w 410808"/>
                <a:gd name="connsiteY17" fmla="*/ 405754 h 439199"/>
                <a:gd name="connsiteX18" fmla="*/ 31507 w 410808"/>
                <a:gd name="connsiteY18" fmla="*/ 379649 h 439199"/>
                <a:gd name="connsiteX19" fmla="*/ 20639 w 410808"/>
                <a:gd name="connsiteY19" fmla="*/ 362519 h 439199"/>
                <a:gd name="connsiteX20" fmla="*/ 13089 w 410808"/>
                <a:gd name="connsiteY20" fmla="*/ 343608 h 439199"/>
                <a:gd name="connsiteX21" fmla="*/ 10038 w 410808"/>
                <a:gd name="connsiteY21" fmla="*/ 303436 h 439199"/>
                <a:gd name="connsiteX22" fmla="*/ 14586 w 410808"/>
                <a:gd name="connsiteY22" fmla="*/ 283970 h 439199"/>
                <a:gd name="connsiteX23" fmla="*/ 22408 w 410808"/>
                <a:gd name="connsiteY23" fmla="*/ 266007 h 439199"/>
                <a:gd name="connsiteX24" fmla="*/ 32914 w 410808"/>
                <a:gd name="connsiteY24" fmla="*/ 250254 h 439199"/>
                <a:gd name="connsiteX25" fmla="*/ 45733 w 410808"/>
                <a:gd name="connsiteY25" fmla="*/ 237251 h 439199"/>
                <a:gd name="connsiteX26" fmla="*/ 113570 w 410808"/>
                <a:gd name="connsiteY26" fmla="*/ 215045 h 439199"/>
                <a:gd name="connsiteX27" fmla="*/ 191127 w 410808"/>
                <a:gd name="connsiteY27" fmla="*/ 215325 h 439199"/>
                <a:gd name="connsiteX28" fmla="*/ 190929 w 410808"/>
                <a:gd name="connsiteY28" fmla="*/ 187223 h 439199"/>
                <a:gd name="connsiteX29" fmla="*/ 113703 w 410808"/>
                <a:gd name="connsiteY29" fmla="*/ 191528 h 439199"/>
                <a:gd name="connsiteX30" fmla="*/ 71854 w 410808"/>
                <a:gd name="connsiteY30" fmla="*/ 201940 h 439199"/>
                <a:gd name="connsiteX31" fmla="*/ 52843 w 410808"/>
                <a:gd name="connsiteY31" fmla="*/ 212357 h 439199"/>
                <a:gd name="connsiteX32" fmla="*/ 36125 w 410808"/>
                <a:gd name="connsiteY32" fmla="*/ 225973 h 439199"/>
                <a:gd name="connsiteX33" fmla="*/ 22431 w 410808"/>
                <a:gd name="connsiteY33" fmla="*/ 242521 h 439199"/>
                <a:gd name="connsiteX34" fmla="*/ 11996 w 410808"/>
                <a:gd name="connsiteY34" fmla="*/ 261262 h 439199"/>
                <a:gd name="connsiteX35" fmla="*/ 653 w 410808"/>
                <a:gd name="connsiteY35" fmla="*/ 302749 h 439199"/>
                <a:gd name="connsiteX36" fmla="*/ 3454 w 410808"/>
                <a:gd name="connsiteY36" fmla="*/ 346888 h 439199"/>
                <a:gd name="connsiteX37" fmla="*/ 21308 w 410808"/>
                <a:gd name="connsiteY37" fmla="*/ 388209 h 439199"/>
                <a:gd name="connsiteX38" fmla="*/ 54074 w 410808"/>
                <a:gd name="connsiteY38" fmla="*/ 420941 h 439199"/>
                <a:gd name="connsiteX39" fmla="*/ 98217 w 410808"/>
                <a:gd name="connsiteY39" fmla="*/ 437778 h 439199"/>
                <a:gd name="connsiteX40" fmla="*/ 104095 w 410808"/>
                <a:gd name="connsiteY40" fmla="*/ 438545 h 439199"/>
                <a:gd name="connsiteX41" fmla="*/ 110082 w 410808"/>
                <a:gd name="connsiteY41" fmla="*/ 439039 h 439199"/>
                <a:gd name="connsiteX42" fmla="*/ 116215 w 410808"/>
                <a:gd name="connsiteY42" fmla="*/ 439187 h 439199"/>
                <a:gd name="connsiteX43" fmla="*/ 122350 w 410808"/>
                <a:gd name="connsiteY43" fmla="*/ 438993 h 439199"/>
                <a:gd name="connsiteX44" fmla="*/ 146552 w 410808"/>
                <a:gd name="connsiteY44" fmla="*/ 434799 h 439199"/>
                <a:gd name="connsiteX45" fmla="*/ 169484 w 410808"/>
                <a:gd name="connsiteY45" fmla="*/ 425577 h 439199"/>
                <a:gd name="connsiteX46" fmla="*/ 190254 w 410808"/>
                <a:gd name="connsiteY46" fmla="*/ 411687 h 439199"/>
                <a:gd name="connsiteX47" fmla="*/ 221565 w 410808"/>
                <a:gd name="connsiteY47" fmla="*/ 371865 h 439199"/>
                <a:gd name="connsiteX48" fmla="*/ 224367 w 410808"/>
                <a:gd name="connsiteY48" fmla="*/ 366059 h 439199"/>
                <a:gd name="connsiteX49" fmla="*/ 226845 w 410808"/>
                <a:gd name="connsiteY49" fmla="*/ 360095 h 439199"/>
                <a:gd name="connsiteX50" fmla="*/ 230857 w 410808"/>
                <a:gd name="connsiteY50" fmla="*/ 347813 h 439199"/>
                <a:gd name="connsiteX51" fmla="*/ 235423 w 410808"/>
                <a:gd name="connsiteY51" fmla="*/ 322496 h 439199"/>
                <a:gd name="connsiteX52" fmla="*/ 236294 w 410808"/>
                <a:gd name="connsiteY52" fmla="*/ 309750 h 439199"/>
                <a:gd name="connsiteX53" fmla="*/ 236501 w 410808"/>
                <a:gd name="connsiteY53" fmla="*/ 304226 h 439199"/>
                <a:gd name="connsiteX54" fmla="*/ 236760 w 410808"/>
                <a:gd name="connsiteY54" fmla="*/ 299081 h 439199"/>
                <a:gd name="connsiteX55" fmla="*/ 237715 w 410808"/>
                <a:gd name="connsiteY55" fmla="*/ 278511 h 439199"/>
                <a:gd name="connsiteX56" fmla="*/ 238620 w 410808"/>
                <a:gd name="connsiteY56" fmla="*/ 237371 h 439199"/>
                <a:gd name="connsiteX57" fmla="*/ 240359 w 410808"/>
                <a:gd name="connsiteY57" fmla="*/ 155087 h 439199"/>
                <a:gd name="connsiteX58" fmla="*/ 241196 w 410808"/>
                <a:gd name="connsiteY58" fmla="*/ 113947 h 439199"/>
                <a:gd name="connsiteX59" fmla="*/ 241280 w 410808"/>
                <a:gd name="connsiteY59" fmla="*/ 108804 h 439199"/>
                <a:gd name="connsiteX60" fmla="*/ 241306 w 410808"/>
                <a:gd name="connsiteY60" fmla="*/ 107574 h 439199"/>
                <a:gd name="connsiteX61" fmla="*/ 241356 w 410808"/>
                <a:gd name="connsiteY61" fmla="*/ 106714 h 439199"/>
                <a:gd name="connsiteX62" fmla="*/ 241442 w 410808"/>
                <a:gd name="connsiteY62" fmla="*/ 104992 h 439199"/>
                <a:gd name="connsiteX63" fmla="*/ 242208 w 410808"/>
                <a:gd name="connsiteY63" fmla="*/ 98195 h 439199"/>
                <a:gd name="connsiteX64" fmla="*/ 245531 w 410808"/>
                <a:gd name="connsiteY64" fmla="*/ 85091 h 439199"/>
                <a:gd name="connsiteX65" fmla="*/ 259313 w 410808"/>
                <a:gd name="connsiteY65" fmla="*/ 62189 h 439199"/>
                <a:gd name="connsiteX66" fmla="*/ 280612 w 410808"/>
                <a:gd name="connsiteY66" fmla="*/ 46525 h 439199"/>
                <a:gd name="connsiteX67" fmla="*/ 306280 w 410808"/>
                <a:gd name="connsiteY67" fmla="*/ 41060 h 439199"/>
                <a:gd name="connsiteX68" fmla="*/ 332208 w 410808"/>
                <a:gd name="connsiteY68" fmla="*/ 46223 h 439199"/>
                <a:gd name="connsiteX69" fmla="*/ 354259 w 410808"/>
                <a:gd name="connsiteY69" fmla="*/ 61931 h 439199"/>
                <a:gd name="connsiteX70" fmla="*/ 368713 w 410808"/>
                <a:gd name="connsiteY70" fmla="*/ 85641 h 439199"/>
                <a:gd name="connsiteX71" fmla="*/ 372929 w 410808"/>
                <a:gd name="connsiteY71" fmla="*/ 113809 h 439199"/>
                <a:gd name="connsiteX72" fmla="*/ 366004 w 410808"/>
                <a:gd name="connsiteY72" fmla="*/ 141782 h 439199"/>
                <a:gd name="connsiteX73" fmla="*/ 348408 w 410808"/>
                <a:gd name="connsiteY73" fmla="*/ 164901 h 439199"/>
                <a:gd name="connsiteX74" fmla="*/ 322992 w 410808"/>
                <a:gd name="connsiteY74" fmla="*/ 178673 h 439199"/>
                <a:gd name="connsiteX75" fmla="*/ 308664 w 410808"/>
                <a:gd name="connsiteY75" fmla="*/ 181411 h 439199"/>
                <a:gd name="connsiteX76" fmla="*/ 306826 w 410808"/>
                <a:gd name="connsiteY76" fmla="*/ 181527 h 439199"/>
                <a:gd name="connsiteX77" fmla="*/ 304809 w 410808"/>
                <a:gd name="connsiteY77" fmla="*/ 181640 h 439199"/>
                <a:gd name="connsiteX78" fmla="*/ 299847 w 410808"/>
                <a:gd name="connsiteY78" fmla="*/ 181779 h 439199"/>
                <a:gd name="connsiteX79" fmla="*/ 289923 w 410808"/>
                <a:gd name="connsiteY79" fmla="*/ 182053 h 439199"/>
                <a:gd name="connsiteX80" fmla="*/ 252958 w 410808"/>
                <a:gd name="connsiteY80" fmla="*/ 183076 h 439199"/>
                <a:gd name="connsiteX81" fmla="*/ 252277 w 410808"/>
                <a:gd name="connsiteY81" fmla="*/ 215384 h 439199"/>
                <a:gd name="connsiteX82" fmla="*/ 289923 w 410808"/>
                <a:gd name="connsiteY82" fmla="*/ 215898 h 439199"/>
                <a:gd name="connsiteX83" fmla="*/ 299847 w 410808"/>
                <a:gd name="connsiteY83" fmla="*/ 216033 h 439199"/>
                <a:gd name="connsiteX84" fmla="*/ 304809 w 410808"/>
                <a:gd name="connsiteY84" fmla="*/ 216102 h 439199"/>
                <a:gd name="connsiteX85" fmla="*/ 310123 w 410808"/>
                <a:gd name="connsiteY85" fmla="*/ 216052 h 439199"/>
                <a:gd name="connsiteX86" fmla="*/ 331451 w 410808"/>
                <a:gd name="connsiteY86" fmla="*/ 213097 h 439199"/>
                <a:gd name="connsiteX87" fmla="*/ 370314 w 410808"/>
                <a:gd name="connsiteY87" fmla="*/ 194020 h 439199"/>
                <a:gd name="connsiteX88" fmla="*/ 398200 w 410808"/>
                <a:gd name="connsiteY88" fmla="*/ 159964 h 439199"/>
                <a:gd name="connsiteX89" fmla="*/ 405227 w 410808"/>
                <a:gd name="connsiteY89" fmla="*/ 72915 h 4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10808" h="439199">
                  <a:moveTo>
                    <a:pt x="405227" y="72915"/>
                  </a:moveTo>
                  <a:cubicBezTo>
                    <a:pt x="400578" y="58757"/>
                    <a:pt x="393120" y="45570"/>
                    <a:pt x="383294" y="34663"/>
                  </a:cubicBezTo>
                  <a:cubicBezTo>
                    <a:pt x="373506" y="23731"/>
                    <a:pt x="361554" y="14946"/>
                    <a:pt x="348424" y="8998"/>
                  </a:cubicBezTo>
                  <a:cubicBezTo>
                    <a:pt x="322142" y="-3040"/>
                    <a:pt x="291299" y="-2942"/>
                    <a:pt x="265296" y="8948"/>
                  </a:cubicBezTo>
                  <a:cubicBezTo>
                    <a:pt x="239223" y="20705"/>
                    <a:pt x="218629" y="43946"/>
                    <a:pt x="209272" y="71420"/>
                  </a:cubicBezTo>
                  <a:cubicBezTo>
                    <a:pt x="206934" y="78283"/>
                    <a:pt x="205287" y="85393"/>
                    <a:pt x="204362" y="92591"/>
                  </a:cubicBezTo>
                  <a:cubicBezTo>
                    <a:pt x="203373" y="99719"/>
                    <a:pt x="203378" y="107278"/>
                    <a:pt x="203494" y="113947"/>
                  </a:cubicBezTo>
                  <a:lnTo>
                    <a:pt x="203862" y="155087"/>
                  </a:lnTo>
                  <a:lnTo>
                    <a:pt x="204482" y="237371"/>
                  </a:lnTo>
                  <a:lnTo>
                    <a:pt x="204703" y="278511"/>
                  </a:lnTo>
                  <a:cubicBezTo>
                    <a:pt x="204730" y="285369"/>
                    <a:pt x="204655" y="292225"/>
                    <a:pt x="204760" y="299081"/>
                  </a:cubicBezTo>
                  <a:cubicBezTo>
                    <a:pt x="204797" y="302485"/>
                    <a:pt x="204913" y="305996"/>
                    <a:pt x="204892" y="309309"/>
                  </a:cubicBezTo>
                  <a:cubicBezTo>
                    <a:pt x="204935" y="312621"/>
                    <a:pt x="204706" y="315914"/>
                    <a:pt x="204642" y="319233"/>
                  </a:cubicBezTo>
                  <a:cubicBezTo>
                    <a:pt x="204223" y="325837"/>
                    <a:pt x="203496" y="332475"/>
                    <a:pt x="202117" y="339029"/>
                  </a:cubicBezTo>
                  <a:cubicBezTo>
                    <a:pt x="200780" y="345595"/>
                    <a:pt x="198632" y="352005"/>
                    <a:pt x="195891" y="358138"/>
                  </a:cubicBezTo>
                  <a:cubicBezTo>
                    <a:pt x="190381" y="370388"/>
                    <a:pt x="182595" y="381725"/>
                    <a:pt x="172778" y="390919"/>
                  </a:cubicBezTo>
                  <a:cubicBezTo>
                    <a:pt x="153090" y="409188"/>
                    <a:pt x="126137" y="419148"/>
                    <a:pt x="99701" y="416828"/>
                  </a:cubicBezTo>
                  <a:cubicBezTo>
                    <a:pt x="86501" y="415924"/>
                    <a:pt x="73485" y="412131"/>
                    <a:pt x="61780" y="405754"/>
                  </a:cubicBezTo>
                  <a:cubicBezTo>
                    <a:pt x="50049" y="399398"/>
                    <a:pt x="39725" y="390368"/>
                    <a:pt x="31507" y="379649"/>
                  </a:cubicBezTo>
                  <a:cubicBezTo>
                    <a:pt x="27379" y="374303"/>
                    <a:pt x="23745" y="368555"/>
                    <a:pt x="20639" y="362519"/>
                  </a:cubicBezTo>
                  <a:cubicBezTo>
                    <a:pt x="17531" y="356489"/>
                    <a:pt x="14908" y="350172"/>
                    <a:pt x="13089" y="343608"/>
                  </a:cubicBezTo>
                  <a:cubicBezTo>
                    <a:pt x="9155" y="330566"/>
                    <a:pt x="8248" y="316667"/>
                    <a:pt x="10038" y="303436"/>
                  </a:cubicBezTo>
                  <a:cubicBezTo>
                    <a:pt x="11020" y="296807"/>
                    <a:pt x="12548" y="290269"/>
                    <a:pt x="14586" y="283970"/>
                  </a:cubicBezTo>
                  <a:cubicBezTo>
                    <a:pt x="16710" y="277693"/>
                    <a:pt x="19338" y="271666"/>
                    <a:pt x="22408" y="266007"/>
                  </a:cubicBezTo>
                  <a:cubicBezTo>
                    <a:pt x="25433" y="260324"/>
                    <a:pt x="29016" y="255071"/>
                    <a:pt x="32914" y="250254"/>
                  </a:cubicBezTo>
                  <a:cubicBezTo>
                    <a:pt x="36748" y="245391"/>
                    <a:pt x="41021" y="240991"/>
                    <a:pt x="45733" y="237251"/>
                  </a:cubicBezTo>
                  <a:cubicBezTo>
                    <a:pt x="64156" y="221787"/>
                    <a:pt x="88593" y="215138"/>
                    <a:pt x="113570" y="215045"/>
                  </a:cubicBezTo>
                  <a:cubicBezTo>
                    <a:pt x="139421" y="215084"/>
                    <a:pt x="165270" y="215478"/>
                    <a:pt x="191127" y="215325"/>
                  </a:cubicBezTo>
                  <a:lnTo>
                    <a:pt x="190929" y="187223"/>
                  </a:lnTo>
                  <a:cubicBezTo>
                    <a:pt x="165190" y="187793"/>
                    <a:pt x="139439" y="189580"/>
                    <a:pt x="113703" y="191528"/>
                  </a:cubicBezTo>
                  <a:cubicBezTo>
                    <a:pt x="99353" y="192625"/>
                    <a:pt x="85175" y="196201"/>
                    <a:pt x="71854" y="201940"/>
                  </a:cubicBezTo>
                  <a:cubicBezTo>
                    <a:pt x="65184" y="204763"/>
                    <a:pt x="58851" y="208380"/>
                    <a:pt x="52843" y="212357"/>
                  </a:cubicBezTo>
                  <a:cubicBezTo>
                    <a:pt x="46863" y="216392"/>
                    <a:pt x="41182" y="220860"/>
                    <a:pt x="36125" y="225973"/>
                  </a:cubicBezTo>
                  <a:cubicBezTo>
                    <a:pt x="30974" y="230977"/>
                    <a:pt x="26456" y="236607"/>
                    <a:pt x="22431" y="242521"/>
                  </a:cubicBezTo>
                  <a:cubicBezTo>
                    <a:pt x="18388" y="248430"/>
                    <a:pt x="14856" y="254692"/>
                    <a:pt x="11996" y="261262"/>
                  </a:cubicBezTo>
                  <a:cubicBezTo>
                    <a:pt x="6026" y="274304"/>
                    <a:pt x="2201" y="288266"/>
                    <a:pt x="653" y="302749"/>
                  </a:cubicBezTo>
                  <a:cubicBezTo>
                    <a:pt x="-775" y="317368"/>
                    <a:pt x="130" y="332351"/>
                    <a:pt x="3454" y="346888"/>
                  </a:cubicBezTo>
                  <a:cubicBezTo>
                    <a:pt x="6834" y="361421"/>
                    <a:pt x="12832" y="375483"/>
                    <a:pt x="21308" y="388209"/>
                  </a:cubicBezTo>
                  <a:cubicBezTo>
                    <a:pt x="29806" y="400883"/>
                    <a:pt x="40859" y="412268"/>
                    <a:pt x="54074" y="420941"/>
                  </a:cubicBezTo>
                  <a:cubicBezTo>
                    <a:pt x="67269" y="429597"/>
                    <a:pt x="82567" y="435417"/>
                    <a:pt x="98217" y="437778"/>
                  </a:cubicBezTo>
                  <a:cubicBezTo>
                    <a:pt x="100177" y="438144"/>
                    <a:pt x="102132" y="438333"/>
                    <a:pt x="104095" y="438545"/>
                  </a:cubicBezTo>
                  <a:cubicBezTo>
                    <a:pt x="106053" y="438764"/>
                    <a:pt x="108018" y="438976"/>
                    <a:pt x="110082" y="439039"/>
                  </a:cubicBezTo>
                  <a:cubicBezTo>
                    <a:pt x="112127" y="439154"/>
                    <a:pt x="114173" y="439232"/>
                    <a:pt x="116215" y="439187"/>
                  </a:cubicBezTo>
                  <a:cubicBezTo>
                    <a:pt x="118264" y="439200"/>
                    <a:pt x="120311" y="439145"/>
                    <a:pt x="122350" y="438993"/>
                  </a:cubicBezTo>
                  <a:cubicBezTo>
                    <a:pt x="130532" y="438542"/>
                    <a:pt x="138662" y="437110"/>
                    <a:pt x="146552" y="434799"/>
                  </a:cubicBezTo>
                  <a:cubicBezTo>
                    <a:pt x="154446" y="432514"/>
                    <a:pt x="162134" y="429416"/>
                    <a:pt x="169484" y="425577"/>
                  </a:cubicBezTo>
                  <a:cubicBezTo>
                    <a:pt x="176844" y="421740"/>
                    <a:pt x="183753" y="416995"/>
                    <a:pt x="190254" y="411687"/>
                  </a:cubicBezTo>
                  <a:cubicBezTo>
                    <a:pt x="203123" y="400880"/>
                    <a:pt x="213711" y="387133"/>
                    <a:pt x="221565" y="371865"/>
                  </a:cubicBezTo>
                  <a:cubicBezTo>
                    <a:pt x="222577" y="369970"/>
                    <a:pt x="223498" y="368028"/>
                    <a:pt x="224367" y="366059"/>
                  </a:cubicBezTo>
                  <a:cubicBezTo>
                    <a:pt x="225271" y="364104"/>
                    <a:pt x="226086" y="362113"/>
                    <a:pt x="226845" y="360095"/>
                  </a:cubicBezTo>
                  <a:cubicBezTo>
                    <a:pt x="228462" y="356105"/>
                    <a:pt x="229772" y="351981"/>
                    <a:pt x="230857" y="347813"/>
                  </a:cubicBezTo>
                  <a:cubicBezTo>
                    <a:pt x="233096" y="339488"/>
                    <a:pt x="234490" y="330984"/>
                    <a:pt x="235423" y="322496"/>
                  </a:cubicBezTo>
                  <a:cubicBezTo>
                    <a:pt x="235752" y="318241"/>
                    <a:pt x="236175" y="313997"/>
                    <a:pt x="236294" y="309750"/>
                  </a:cubicBezTo>
                  <a:lnTo>
                    <a:pt x="236501" y="304226"/>
                  </a:lnTo>
                  <a:lnTo>
                    <a:pt x="236760" y="299081"/>
                  </a:lnTo>
                  <a:lnTo>
                    <a:pt x="237715" y="278511"/>
                  </a:lnTo>
                  <a:lnTo>
                    <a:pt x="238620" y="237371"/>
                  </a:lnTo>
                  <a:lnTo>
                    <a:pt x="240359" y="155087"/>
                  </a:lnTo>
                  <a:lnTo>
                    <a:pt x="241196" y="113947"/>
                  </a:lnTo>
                  <a:lnTo>
                    <a:pt x="241280" y="108804"/>
                  </a:lnTo>
                  <a:lnTo>
                    <a:pt x="241306" y="107574"/>
                  </a:lnTo>
                  <a:lnTo>
                    <a:pt x="241356" y="106714"/>
                  </a:lnTo>
                  <a:lnTo>
                    <a:pt x="241442" y="104992"/>
                  </a:lnTo>
                  <a:cubicBezTo>
                    <a:pt x="241588" y="102703"/>
                    <a:pt x="241849" y="100435"/>
                    <a:pt x="242208" y="98195"/>
                  </a:cubicBezTo>
                  <a:cubicBezTo>
                    <a:pt x="242959" y="93722"/>
                    <a:pt x="243989" y="89319"/>
                    <a:pt x="245531" y="85091"/>
                  </a:cubicBezTo>
                  <a:cubicBezTo>
                    <a:pt x="248591" y="76630"/>
                    <a:pt x="253398" y="68882"/>
                    <a:pt x="259313" y="62189"/>
                  </a:cubicBezTo>
                  <a:cubicBezTo>
                    <a:pt x="265289" y="55536"/>
                    <a:pt x="272591" y="50149"/>
                    <a:pt x="280612" y="46525"/>
                  </a:cubicBezTo>
                  <a:cubicBezTo>
                    <a:pt x="288648" y="42910"/>
                    <a:pt x="297369" y="41077"/>
                    <a:pt x="306280" y="41060"/>
                  </a:cubicBezTo>
                  <a:cubicBezTo>
                    <a:pt x="315179" y="40910"/>
                    <a:pt x="323995" y="42656"/>
                    <a:pt x="332208" y="46223"/>
                  </a:cubicBezTo>
                  <a:cubicBezTo>
                    <a:pt x="340413" y="49781"/>
                    <a:pt x="347999" y="55153"/>
                    <a:pt x="354259" y="61931"/>
                  </a:cubicBezTo>
                  <a:cubicBezTo>
                    <a:pt x="360472" y="68745"/>
                    <a:pt x="365502" y="76790"/>
                    <a:pt x="368713" y="85641"/>
                  </a:cubicBezTo>
                  <a:cubicBezTo>
                    <a:pt x="371944" y="94462"/>
                    <a:pt x="373395" y="104120"/>
                    <a:pt x="372929" y="113809"/>
                  </a:cubicBezTo>
                  <a:cubicBezTo>
                    <a:pt x="372502" y="123445"/>
                    <a:pt x="370189" y="132995"/>
                    <a:pt x="366004" y="141782"/>
                  </a:cubicBezTo>
                  <a:cubicBezTo>
                    <a:pt x="361795" y="150525"/>
                    <a:pt x="355854" y="158587"/>
                    <a:pt x="348408" y="164901"/>
                  </a:cubicBezTo>
                  <a:cubicBezTo>
                    <a:pt x="340986" y="171225"/>
                    <a:pt x="332299" y="175979"/>
                    <a:pt x="322992" y="178673"/>
                  </a:cubicBezTo>
                  <a:cubicBezTo>
                    <a:pt x="318349" y="180062"/>
                    <a:pt x="313555" y="181006"/>
                    <a:pt x="308664" y="181411"/>
                  </a:cubicBezTo>
                  <a:lnTo>
                    <a:pt x="306826" y="181527"/>
                  </a:lnTo>
                  <a:cubicBezTo>
                    <a:pt x="306157" y="181562"/>
                    <a:pt x="305737" y="181629"/>
                    <a:pt x="304809" y="181640"/>
                  </a:cubicBezTo>
                  <a:lnTo>
                    <a:pt x="299847" y="181779"/>
                  </a:lnTo>
                  <a:lnTo>
                    <a:pt x="289923" y="182053"/>
                  </a:lnTo>
                  <a:lnTo>
                    <a:pt x="252958" y="183076"/>
                  </a:lnTo>
                  <a:lnTo>
                    <a:pt x="252277" y="215384"/>
                  </a:lnTo>
                  <a:lnTo>
                    <a:pt x="289923" y="215898"/>
                  </a:lnTo>
                  <a:lnTo>
                    <a:pt x="299847" y="216033"/>
                  </a:lnTo>
                  <a:lnTo>
                    <a:pt x="304809" y="216102"/>
                  </a:lnTo>
                  <a:lnTo>
                    <a:pt x="310123" y="216052"/>
                  </a:lnTo>
                  <a:cubicBezTo>
                    <a:pt x="317289" y="215826"/>
                    <a:pt x="324450" y="214829"/>
                    <a:pt x="331451" y="213097"/>
                  </a:cubicBezTo>
                  <a:cubicBezTo>
                    <a:pt x="345480" y="209706"/>
                    <a:pt x="358841" y="203157"/>
                    <a:pt x="370314" y="194020"/>
                  </a:cubicBezTo>
                  <a:cubicBezTo>
                    <a:pt x="381841" y="184933"/>
                    <a:pt x="391276" y="173115"/>
                    <a:pt x="398200" y="159964"/>
                  </a:cubicBezTo>
                  <a:cubicBezTo>
                    <a:pt x="412085" y="133541"/>
                    <a:pt x="414616" y="101255"/>
                    <a:pt x="405227" y="72915"/>
                  </a:cubicBezTo>
                </a:path>
              </a:pathLst>
            </a:custGeom>
            <a:solidFill>
              <a:srgbClr val="FD5F07"/>
            </a:solidFill>
            <a:ln w="390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272029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with Photo R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672540-1147-614D-8DA9-896A245EB37C}"/>
              </a:ext>
            </a:extLst>
          </p:cNvPr>
          <p:cNvSpPr/>
          <p:nvPr userDrawn="1"/>
        </p:nvSpPr>
        <p:spPr>
          <a:xfrm>
            <a:off x="6108001" y="1836000"/>
            <a:ext cx="6083999" cy="311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SA" dirty="0"/>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6108001" y="1836000"/>
            <a:ext cx="6083999" cy="3117600"/>
          </a:xfrm>
          <a:noFill/>
        </p:spPr>
        <p:txBody>
          <a:bodyPr lIns="1296000" tIns="1440000" rIns="720000" bIns="360000" anchor="t"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sz="3200" b="1" i="0" spc="-150">
                <a:solidFill>
                  <a:schemeClr val="tx1"/>
                </a:solidFill>
                <a:latin typeface="Arial Black" panose="020B0604020202020204" pitchFamily="34" charset="0"/>
                <a:cs typeface="Arial Black" panose="020B0604020202020204" pitchFamily="34" charset="0"/>
              </a:defRPr>
            </a:lvl1pPr>
          </a:lstStyle>
          <a:p>
            <a:r>
              <a:rPr lang="en-US" dirty="0"/>
              <a:t>Deck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6108001" y="4950000"/>
            <a:ext cx="6083999" cy="813600"/>
          </a:xfrm>
          <a:prstGeom prst="rect">
            <a:avLst/>
          </a:prstGeom>
          <a:solidFill>
            <a:schemeClr val="tx2">
              <a:lumMod val="20000"/>
              <a:lumOff val="80000"/>
            </a:schemeClr>
          </a:solidFill>
        </p:spPr>
        <p:txBody>
          <a:bodyPr lIns="1296000" tIns="180000" rIns="720000" bIns="180000" anchor="ctr"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aphic 6">
            <a:extLst>
              <a:ext uri="{FF2B5EF4-FFF2-40B4-BE49-F238E27FC236}">
                <a16:creationId xmlns:a16="http://schemas.microsoft.com/office/drawing/2014/main" id="{35FC0794-381B-6642-ACBD-511DE199CD77}"/>
              </a:ext>
            </a:extLst>
          </p:cNvPr>
          <p:cNvGrpSpPr/>
          <p:nvPr userDrawn="1"/>
        </p:nvGrpSpPr>
        <p:grpSpPr>
          <a:xfrm>
            <a:off x="6826163" y="2361601"/>
            <a:ext cx="1949437" cy="439199"/>
            <a:chOff x="3721526" y="2201333"/>
            <a:chExt cx="1949437" cy="439199"/>
          </a:xfrm>
        </p:grpSpPr>
        <p:sp>
          <p:nvSpPr>
            <p:cNvPr id="7" name="Graphic 6">
              <a:extLst>
                <a:ext uri="{FF2B5EF4-FFF2-40B4-BE49-F238E27FC236}">
                  <a16:creationId xmlns:a16="http://schemas.microsoft.com/office/drawing/2014/main" id="{35998E0A-9BE5-6D49-94C6-4F5A5AA8E5A8}"/>
                </a:ext>
              </a:extLst>
            </p:cNvPr>
            <p:cNvSpPr/>
            <p:nvPr/>
          </p:nvSpPr>
          <p:spPr>
            <a:xfrm>
              <a:off x="4295120" y="2307209"/>
              <a:ext cx="1375843" cy="232533"/>
            </a:xfrm>
            <a:custGeom>
              <a:avLst/>
              <a:gdLst>
                <a:gd name="connsiteX0" fmla="*/ 516051 w 1375843"/>
                <a:gd name="connsiteY0" fmla="*/ 68048 h 232533"/>
                <a:gd name="connsiteX1" fmla="*/ 578107 w 1375843"/>
                <a:gd name="connsiteY1" fmla="*/ 104431 h 232533"/>
                <a:gd name="connsiteX2" fmla="*/ 540432 w 1375843"/>
                <a:gd name="connsiteY2" fmla="*/ 124363 h 232533"/>
                <a:gd name="connsiteX3" fmla="*/ 515734 w 1375843"/>
                <a:gd name="connsiteY3" fmla="*/ 105062 h 232533"/>
                <a:gd name="connsiteX4" fmla="*/ 501172 w 1375843"/>
                <a:gd name="connsiteY4" fmla="*/ 115818 h 232533"/>
                <a:gd name="connsiteX5" fmla="*/ 514153 w 1375843"/>
                <a:gd name="connsiteY5" fmla="*/ 127840 h 232533"/>
                <a:gd name="connsiteX6" fmla="*/ 533783 w 1375843"/>
                <a:gd name="connsiteY6" fmla="*/ 132904 h 232533"/>
                <a:gd name="connsiteX7" fmla="*/ 579056 w 1375843"/>
                <a:gd name="connsiteY7" fmla="*/ 179095 h 232533"/>
                <a:gd name="connsiteX8" fmla="*/ 516051 w 1375843"/>
                <a:gd name="connsiteY8" fmla="*/ 232561 h 232533"/>
                <a:gd name="connsiteX9" fmla="*/ 449877 w 1375843"/>
                <a:gd name="connsiteY9" fmla="*/ 194280 h 232533"/>
                <a:gd name="connsiteX10" fmla="*/ 487238 w 1375843"/>
                <a:gd name="connsiteY10" fmla="*/ 173713 h 232533"/>
                <a:gd name="connsiteX11" fmla="*/ 516369 w 1375843"/>
                <a:gd name="connsiteY11" fmla="*/ 194912 h 232533"/>
                <a:gd name="connsiteX12" fmla="*/ 532833 w 1375843"/>
                <a:gd name="connsiteY12" fmla="*/ 182890 h 232533"/>
                <a:gd name="connsiteX13" fmla="*/ 518585 w 1375843"/>
                <a:gd name="connsiteY13" fmla="*/ 171185 h 232533"/>
                <a:gd name="connsiteX14" fmla="*/ 500222 w 1375843"/>
                <a:gd name="connsiteY14" fmla="*/ 166756 h 232533"/>
                <a:gd name="connsiteX15" fmla="*/ 455577 w 1375843"/>
                <a:gd name="connsiteY15" fmla="*/ 118668 h 232533"/>
                <a:gd name="connsiteX16" fmla="*/ 516051 w 1375843"/>
                <a:gd name="connsiteY16" fmla="*/ 68048 h 232533"/>
                <a:gd name="connsiteX17" fmla="*/ 731570 w 1375843"/>
                <a:gd name="connsiteY17" fmla="*/ 68048 h 232533"/>
                <a:gd name="connsiteX18" fmla="*/ 793630 w 1375843"/>
                <a:gd name="connsiteY18" fmla="*/ 104431 h 232533"/>
                <a:gd name="connsiteX19" fmla="*/ 755951 w 1375843"/>
                <a:gd name="connsiteY19" fmla="*/ 124363 h 232533"/>
                <a:gd name="connsiteX20" fmla="*/ 731253 w 1375843"/>
                <a:gd name="connsiteY20" fmla="*/ 105062 h 232533"/>
                <a:gd name="connsiteX21" fmla="*/ 716691 w 1375843"/>
                <a:gd name="connsiteY21" fmla="*/ 115818 h 232533"/>
                <a:gd name="connsiteX22" fmla="*/ 729672 w 1375843"/>
                <a:gd name="connsiteY22" fmla="*/ 127840 h 232533"/>
                <a:gd name="connsiteX23" fmla="*/ 749302 w 1375843"/>
                <a:gd name="connsiteY23" fmla="*/ 132904 h 232533"/>
                <a:gd name="connsiteX24" fmla="*/ 794579 w 1375843"/>
                <a:gd name="connsiteY24" fmla="*/ 179095 h 232533"/>
                <a:gd name="connsiteX25" fmla="*/ 731570 w 1375843"/>
                <a:gd name="connsiteY25" fmla="*/ 232561 h 232533"/>
                <a:gd name="connsiteX26" fmla="*/ 665400 w 1375843"/>
                <a:gd name="connsiteY26" fmla="*/ 194280 h 232533"/>
                <a:gd name="connsiteX27" fmla="*/ 702761 w 1375843"/>
                <a:gd name="connsiteY27" fmla="*/ 173713 h 232533"/>
                <a:gd name="connsiteX28" fmla="*/ 731888 w 1375843"/>
                <a:gd name="connsiteY28" fmla="*/ 194912 h 232533"/>
                <a:gd name="connsiteX29" fmla="*/ 748352 w 1375843"/>
                <a:gd name="connsiteY29" fmla="*/ 182890 h 232533"/>
                <a:gd name="connsiteX30" fmla="*/ 734105 w 1375843"/>
                <a:gd name="connsiteY30" fmla="*/ 171185 h 232533"/>
                <a:gd name="connsiteX31" fmla="*/ 715742 w 1375843"/>
                <a:gd name="connsiteY31" fmla="*/ 166756 h 232533"/>
                <a:gd name="connsiteX32" fmla="*/ 671096 w 1375843"/>
                <a:gd name="connsiteY32" fmla="*/ 118668 h 232533"/>
                <a:gd name="connsiteX33" fmla="*/ 731570 w 1375843"/>
                <a:gd name="connsiteY33" fmla="*/ 68048 h 232533"/>
                <a:gd name="connsiteX34" fmla="*/ 243314 w 1375843"/>
                <a:gd name="connsiteY34" fmla="*/ 68047 h 232533"/>
                <a:gd name="connsiteX35" fmla="*/ 323101 w 1375843"/>
                <a:gd name="connsiteY35" fmla="*/ 151569 h 232533"/>
                <a:gd name="connsiteX36" fmla="*/ 322466 w 1375843"/>
                <a:gd name="connsiteY36" fmla="*/ 162956 h 232533"/>
                <a:gd name="connsiteX37" fmla="*/ 207534 w 1375843"/>
                <a:gd name="connsiteY37" fmla="*/ 162956 h 232533"/>
                <a:gd name="connsiteX38" fmla="*/ 245213 w 1375843"/>
                <a:gd name="connsiteY38" fmla="*/ 194597 h 232533"/>
                <a:gd name="connsiteX39" fmla="*/ 278773 w 1375843"/>
                <a:gd name="connsiteY39" fmla="*/ 175613 h 232533"/>
                <a:gd name="connsiteX40" fmla="*/ 317719 w 1375843"/>
                <a:gd name="connsiteY40" fmla="*/ 191116 h 232533"/>
                <a:gd name="connsiteX41" fmla="*/ 245213 w 1375843"/>
                <a:gd name="connsiteY41" fmla="*/ 232560 h 232533"/>
                <a:gd name="connsiteX42" fmla="*/ 162260 w 1375843"/>
                <a:gd name="connsiteY42" fmla="*/ 150303 h 232533"/>
                <a:gd name="connsiteX43" fmla="*/ 243314 w 1375843"/>
                <a:gd name="connsiteY43" fmla="*/ 68047 h 232533"/>
                <a:gd name="connsiteX44" fmla="*/ 1002285 w 1375843"/>
                <a:gd name="connsiteY44" fmla="*/ 68047 h 232533"/>
                <a:gd name="connsiteX45" fmla="*/ 1082068 w 1375843"/>
                <a:gd name="connsiteY45" fmla="*/ 151569 h 232533"/>
                <a:gd name="connsiteX46" fmla="*/ 1081436 w 1375843"/>
                <a:gd name="connsiteY46" fmla="*/ 162956 h 232533"/>
                <a:gd name="connsiteX47" fmla="*/ 966504 w 1375843"/>
                <a:gd name="connsiteY47" fmla="*/ 162956 h 232533"/>
                <a:gd name="connsiteX48" fmla="*/ 1004183 w 1375843"/>
                <a:gd name="connsiteY48" fmla="*/ 194597 h 232533"/>
                <a:gd name="connsiteX49" fmla="*/ 1037743 w 1375843"/>
                <a:gd name="connsiteY49" fmla="*/ 175613 h 232533"/>
                <a:gd name="connsiteX50" fmla="*/ 1076689 w 1375843"/>
                <a:gd name="connsiteY50" fmla="*/ 191116 h 232533"/>
                <a:gd name="connsiteX51" fmla="*/ 1004183 w 1375843"/>
                <a:gd name="connsiteY51" fmla="*/ 232560 h 232533"/>
                <a:gd name="connsiteX52" fmla="*/ 921231 w 1375843"/>
                <a:gd name="connsiteY52" fmla="*/ 150303 h 232533"/>
                <a:gd name="connsiteX53" fmla="*/ 1002285 w 1375843"/>
                <a:gd name="connsiteY53" fmla="*/ 68047 h 232533"/>
                <a:gd name="connsiteX54" fmla="*/ 871424 w 1375843"/>
                <a:gd name="connsiteY54" fmla="*/ 26288 h 232533"/>
                <a:gd name="connsiteX55" fmla="*/ 871424 w 1375843"/>
                <a:gd name="connsiteY55" fmla="*/ 72161 h 232533"/>
                <a:gd name="connsiteX56" fmla="*/ 911002 w 1375843"/>
                <a:gd name="connsiteY56" fmla="*/ 72161 h 232533"/>
                <a:gd name="connsiteX57" fmla="*/ 911002 w 1375843"/>
                <a:gd name="connsiteY57" fmla="*/ 110124 h 232533"/>
                <a:gd name="connsiteX58" fmla="*/ 871424 w 1375843"/>
                <a:gd name="connsiteY58" fmla="*/ 110124 h 232533"/>
                <a:gd name="connsiteX59" fmla="*/ 871424 w 1375843"/>
                <a:gd name="connsiteY59" fmla="*/ 167388 h 232533"/>
                <a:gd name="connsiteX60" fmla="*/ 893906 w 1375843"/>
                <a:gd name="connsiteY60" fmla="*/ 190797 h 232533"/>
                <a:gd name="connsiteX61" fmla="*/ 911002 w 1375843"/>
                <a:gd name="connsiteY61" fmla="*/ 186054 h 232533"/>
                <a:gd name="connsiteX62" fmla="*/ 911002 w 1375843"/>
                <a:gd name="connsiteY62" fmla="*/ 225918 h 232533"/>
                <a:gd name="connsiteX63" fmla="*/ 878709 w 1375843"/>
                <a:gd name="connsiteY63" fmla="*/ 232241 h 232533"/>
                <a:gd name="connsiteX64" fmla="*/ 825515 w 1375843"/>
                <a:gd name="connsiteY64" fmla="*/ 177195 h 232533"/>
                <a:gd name="connsiteX65" fmla="*/ 825515 w 1375843"/>
                <a:gd name="connsiteY65" fmla="*/ 110124 h 232533"/>
                <a:gd name="connsiteX66" fmla="*/ 803351 w 1375843"/>
                <a:gd name="connsiteY66" fmla="*/ 110124 h 232533"/>
                <a:gd name="connsiteX67" fmla="*/ 803351 w 1375843"/>
                <a:gd name="connsiteY67" fmla="*/ 72161 h 232533"/>
                <a:gd name="connsiteX68" fmla="*/ 825515 w 1375843"/>
                <a:gd name="connsiteY68" fmla="*/ 72161 h 232533"/>
                <a:gd name="connsiteX69" fmla="*/ 825515 w 1375843"/>
                <a:gd name="connsiteY69" fmla="*/ 26288 h 232533"/>
                <a:gd name="connsiteX70" fmla="*/ 871424 w 1375843"/>
                <a:gd name="connsiteY70" fmla="*/ 26288 h 232533"/>
                <a:gd name="connsiteX71" fmla="*/ 1336417 w 1375843"/>
                <a:gd name="connsiteY71" fmla="*/ 26288 h 232533"/>
                <a:gd name="connsiteX72" fmla="*/ 1336417 w 1375843"/>
                <a:gd name="connsiteY72" fmla="*/ 72161 h 232533"/>
                <a:gd name="connsiteX73" fmla="*/ 1375991 w 1375843"/>
                <a:gd name="connsiteY73" fmla="*/ 72161 h 232533"/>
                <a:gd name="connsiteX74" fmla="*/ 1375991 w 1375843"/>
                <a:gd name="connsiteY74" fmla="*/ 110124 h 232533"/>
                <a:gd name="connsiteX75" fmla="*/ 1336417 w 1375843"/>
                <a:gd name="connsiteY75" fmla="*/ 110124 h 232533"/>
                <a:gd name="connsiteX76" fmla="*/ 1336417 w 1375843"/>
                <a:gd name="connsiteY76" fmla="*/ 167388 h 232533"/>
                <a:gd name="connsiteX77" fmla="*/ 1358899 w 1375843"/>
                <a:gd name="connsiteY77" fmla="*/ 190797 h 232533"/>
                <a:gd name="connsiteX78" fmla="*/ 1375991 w 1375843"/>
                <a:gd name="connsiteY78" fmla="*/ 186054 h 232533"/>
                <a:gd name="connsiteX79" fmla="*/ 1375991 w 1375843"/>
                <a:gd name="connsiteY79" fmla="*/ 225918 h 232533"/>
                <a:gd name="connsiteX80" fmla="*/ 1343698 w 1375843"/>
                <a:gd name="connsiteY80" fmla="*/ 232241 h 232533"/>
                <a:gd name="connsiteX81" fmla="*/ 1290504 w 1375843"/>
                <a:gd name="connsiteY81" fmla="*/ 177195 h 232533"/>
                <a:gd name="connsiteX82" fmla="*/ 1290504 w 1375843"/>
                <a:gd name="connsiteY82" fmla="*/ 110124 h 232533"/>
                <a:gd name="connsiteX83" fmla="*/ 1268344 w 1375843"/>
                <a:gd name="connsiteY83" fmla="*/ 110124 h 232533"/>
                <a:gd name="connsiteX84" fmla="*/ 1268344 w 1375843"/>
                <a:gd name="connsiteY84" fmla="*/ 72161 h 232533"/>
                <a:gd name="connsiteX85" fmla="*/ 1290504 w 1375843"/>
                <a:gd name="connsiteY85" fmla="*/ 72161 h 232533"/>
                <a:gd name="connsiteX86" fmla="*/ 1290504 w 1375843"/>
                <a:gd name="connsiteY86" fmla="*/ 26288 h 232533"/>
                <a:gd name="connsiteX87" fmla="*/ 1336417 w 1375843"/>
                <a:gd name="connsiteY87" fmla="*/ 26288 h 232533"/>
                <a:gd name="connsiteX88" fmla="*/ 75506 w 1375843"/>
                <a:gd name="connsiteY88" fmla="*/ 6990 h 232533"/>
                <a:gd name="connsiteX89" fmla="*/ 156874 w 1375843"/>
                <a:gd name="connsiteY89" fmla="*/ 78487 h 232533"/>
                <a:gd name="connsiteX90" fmla="*/ 75506 w 1375843"/>
                <a:gd name="connsiteY90" fmla="*/ 149988 h 232533"/>
                <a:gd name="connsiteX91" fmla="*/ 47642 w 1375843"/>
                <a:gd name="connsiteY91" fmla="*/ 149988 h 232533"/>
                <a:gd name="connsiteX92" fmla="*/ 47642 w 1375843"/>
                <a:gd name="connsiteY92" fmla="*/ 228446 h 232533"/>
                <a:gd name="connsiteX93" fmla="*/ 148 w 1375843"/>
                <a:gd name="connsiteY93" fmla="*/ 228446 h 232533"/>
                <a:gd name="connsiteX94" fmla="*/ 148 w 1375843"/>
                <a:gd name="connsiteY94" fmla="*/ 6990 h 232533"/>
                <a:gd name="connsiteX95" fmla="*/ 75506 w 1375843"/>
                <a:gd name="connsiteY95" fmla="*/ 6990 h 232533"/>
                <a:gd name="connsiteX96" fmla="*/ 436104 w 1375843"/>
                <a:gd name="connsiteY96" fmla="*/ 68680 h 232533"/>
                <a:gd name="connsiteX97" fmla="*/ 444020 w 1375843"/>
                <a:gd name="connsiteY97" fmla="*/ 69629 h 232533"/>
                <a:gd name="connsiteX98" fmla="*/ 444020 w 1375843"/>
                <a:gd name="connsiteY98" fmla="*/ 117085 h 232533"/>
                <a:gd name="connsiteX99" fmla="*/ 432302 w 1375843"/>
                <a:gd name="connsiteY99" fmla="*/ 115188 h 232533"/>
                <a:gd name="connsiteX100" fmla="*/ 391461 w 1375843"/>
                <a:gd name="connsiteY100" fmla="*/ 164856 h 232533"/>
                <a:gd name="connsiteX101" fmla="*/ 391461 w 1375843"/>
                <a:gd name="connsiteY101" fmla="*/ 228446 h 232533"/>
                <a:gd name="connsiteX102" fmla="*/ 345552 w 1375843"/>
                <a:gd name="connsiteY102" fmla="*/ 228446 h 232533"/>
                <a:gd name="connsiteX103" fmla="*/ 345552 w 1375843"/>
                <a:gd name="connsiteY103" fmla="*/ 72161 h 232533"/>
                <a:gd name="connsiteX104" fmla="*/ 391144 w 1375843"/>
                <a:gd name="connsiteY104" fmla="*/ 72161 h 232533"/>
                <a:gd name="connsiteX105" fmla="*/ 391144 w 1375843"/>
                <a:gd name="connsiteY105" fmla="*/ 97788 h 232533"/>
                <a:gd name="connsiteX106" fmla="*/ 436104 w 1375843"/>
                <a:gd name="connsiteY106" fmla="*/ 68680 h 232533"/>
                <a:gd name="connsiteX107" fmla="*/ 646753 w 1375843"/>
                <a:gd name="connsiteY107" fmla="*/ 72159 h 232533"/>
                <a:gd name="connsiteX108" fmla="*/ 646753 w 1375843"/>
                <a:gd name="connsiteY108" fmla="*/ 228445 h 232533"/>
                <a:gd name="connsiteX109" fmla="*/ 600526 w 1375843"/>
                <a:gd name="connsiteY109" fmla="*/ 228445 h 232533"/>
                <a:gd name="connsiteX110" fmla="*/ 600526 w 1375843"/>
                <a:gd name="connsiteY110" fmla="*/ 72159 h 232533"/>
                <a:gd name="connsiteX111" fmla="*/ 646753 w 1375843"/>
                <a:gd name="connsiteY111" fmla="*/ 72159 h 232533"/>
                <a:gd name="connsiteX112" fmla="*/ 1196977 w 1375843"/>
                <a:gd name="connsiteY112" fmla="*/ 68048 h 232533"/>
                <a:gd name="connsiteX113" fmla="*/ 1254603 w 1375843"/>
                <a:gd name="connsiteY113" fmla="*/ 131957 h 232533"/>
                <a:gd name="connsiteX114" fmla="*/ 1254603 w 1375843"/>
                <a:gd name="connsiteY114" fmla="*/ 228446 h 232533"/>
                <a:gd name="connsiteX115" fmla="*/ 1208373 w 1375843"/>
                <a:gd name="connsiteY115" fmla="*/ 228446 h 232533"/>
                <a:gd name="connsiteX116" fmla="*/ 1208373 w 1375843"/>
                <a:gd name="connsiteY116" fmla="*/ 142709 h 232533"/>
                <a:gd name="connsiteX117" fmla="*/ 1180195 w 1375843"/>
                <a:gd name="connsiteY117" fmla="*/ 110441 h 232533"/>
                <a:gd name="connsiteX118" fmla="*/ 1150750 w 1375843"/>
                <a:gd name="connsiteY118" fmla="*/ 145558 h 232533"/>
                <a:gd name="connsiteX119" fmla="*/ 1150750 w 1375843"/>
                <a:gd name="connsiteY119" fmla="*/ 228446 h 232533"/>
                <a:gd name="connsiteX120" fmla="*/ 1104523 w 1375843"/>
                <a:gd name="connsiteY120" fmla="*/ 228446 h 232533"/>
                <a:gd name="connsiteX121" fmla="*/ 1104523 w 1375843"/>
                <a:gd name="connsiteY121" fmla="*/ 72160 h 232533"/>
                <a:gd name="connsiteX122" fmla="*/ 1150750 w 1375843"/>
                <a:gd name="connsiteY122" fmla="*/ 72160 h 232533"/>
                <a:gd name="connsiteX123" fmla="*/ 1150750 w 1375843"/>
                <a:gd name="connsiteY123" fmla="*/ 92092 h 232533"/>
                <a:gd name="connsiteX124" fmla="*/ 1196977 w 1375843"/>
                <a:gd name="connsiteY124" fmla="*/ 68048 h 232533"/>
                <a:gd name="connsiteX125" fmla="*/ 242996 w 1375843"/>
                <a:gd name="connsiteY125" fmla="*/ 104116 h 232533"/>
                <a:gd name="connsiteX126" fmla="*/ 207851 w 1375843"/>
                <a:gd name="connsiteY126" fmla="*/ 132903 h 232533"/>
                <a:gd name="connsiteX127" fmla="*/ 277823 w 1375843"/>
                <a:gd name="connsiteY127" fmla="*/ 132903 h 232533"/>
                <a:gd name="connsiteX128" fmla="*/ 242996 w 1375843"/>
                <a:gd name="connsiteY128" fmla="*/ 104116 h 232533"/>
                <a:gd name="connsiteX129" fmla="*/ 1001967 w 1375843"/>
                <a:gd name="connsiteY129" fmla="*/ 104116 h 232533"/>
                <a:gd name="connsiteX130" fmla="*/ 966822 w 1375843"/>
                <a:gd name="connsiteY130" fmla="*/ 132903 h 232533"/>
                <a:gd name="connsiteX131" fmla="*/ 1036794 w 1375843"/>
                <a:gd name="connsiteY131" fmla="*/ 132903 h 232533"/>
                <a:gd name="connsiteX132" fmla="*/ 1001967 w 1375843"/>
                <a:gd name="connsiteY132" fmla="*/ 104116 h 232533"/>
                <a:gd name="connsiteX133" fmla="*/ 76452 w 1375843"/>
                <a:gd name="connsiteY133" fmla="*/ 49700 h 232533"/>
                <a:gd name="connsiteX134" fmla="*/ 47642 w 1375843"/>
                <a:gd name="connsiteY134" fmla="*/ 49700 h 232533"/>
                <a:gd name="connsiteX135" fmla="*/ 47642 w 1375843"/>
                <a:gd name="connsiteY135" fmla="*/ 107909 h 232533"/>
                <a:gd name="connsiteX136" fmla="*/ 76452 w 1375843"/>
                <a:gd name="connsiteY136" fmla="*/ 107909 h 232533"/>
                <a:gd name="connsiteX137" fmla="*/ 109066 w 1375843"/>
                <a:gd name="connsiteY137" fmla="*/ 78805 h 232533"/>
                <a:gd name="connsiteX138" fmla="*/ 76452 w 1375843"/>
                <a:gd name="connsiteY138" fmla="*/ 49700 h 232533"/>
                <a:gd name="connsiteX139" fmla="*/ 623640 w 1375843"/>
                <a:gd name="connsiteY139" fmla="*/ 27 h 232533"/>
                <a:gd name="connsiteX140" fmla="*/ 650551 w 1375843"/>
                <a:gd name="connsiteY140" fmla="*/ 26917 h 232533"/>
                <a:gd name="connsiteX141" fmla="*/ 623640 w 1375843"/>
                <a:gd name="connsiteY141" fmla="*/ 53810 h 232533"/>
                <a:gd name="connsiteX142" fmla="*/ 596729 w 1375843"/>
                <a:gd name="connsiteY142" fmla="*/ 26917 h 232533"/>
                <a:gd name="connsiteX143" fmla="*/ 623640 w 1375843"/>
                <a:gd name="connsiteY143" fmla="*/ 27 h 23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375843" h="232533">
                  <a:moveTo>
                    <a:pt x="516051" y="68048"/>
                  </a:moveTo>
                  <a:cubicBezTo>
                    <a:pt x="542966" y="68048"/>
                    <a:pt x="568292" y="82598"/>
                    <a:pt x="578107" y="104431"/>
                  </a:cubicBezTo>
                  <a:lnTo>
                    <a:pt x="540432" y="124363"/>
                  </a:lnTo>
                  <a:cubicBezTo>
                    <a:pt x="535681" y="112655"/>
                    <a:pt x="525231" y="105062"/>
                    <a:pt x="515734" y="105062"/>
                  </a:cubicBezTo>
                  <a:cubicBezTo>
                    <a:pt x="507186" y="105062"/>
                    <a:pt x="501172" y="109492"/>
                    <a:pt x="501172" y="115818"/>
                  </a:cubicBezTo>
                  <a:cubicBezTo>
                    <a:pt x="501172" y="121514"/>
                    <a:pt x="505605" y="125626"/>
                    <a:pt x="514153" y="127840"/>
                  </a:cubicBezTo>
                  <a:lnTo>
                    <a:pt x="533783" y="132904"/>
                  </a:lnTo>
                  <a:cubicBezTo>
                    <a:pt x="563228" y="140497"/>
                    <a:pt x="579056" y="156948"/>
                    <a:pt x="579056" y="179095"/>
                  </a:cubicBezTo>
                  <a:cubicBezTo>
                    <a:pt x="579056" y="210414"/>
                    <a:pt x="552463" y="232561"/>
                    <a:pt x="516051" y="232561"/>
                  </a:cubicBezTo>
                  <a:cubicBezTo>
                    <a:pt x="485022" y="232561"/>
                    <a:pt x="460327" y="218324"/>
                    <a:pt x="449877" y="194280"/>
                  </a:cubicBezTo>
                  <a:lnTo>
                    <a:pt x="487238" y="173713"/>
                  </a:lnTo>
                  <a:cubicBezTo>
                    <a:pt x="492938" y="186688"/>
                    <a:pt x="504655" y="194912"/>
                    <a:pt x="516369" y="194912"/>
                  </a:cubicBezTo>
                  <a:cubicBezTo>
                    <a:pt x="526184" y="194912"/>
                    <a:pt x="532833" y="190482"/>
                    <a:pt x="532833" y="182890"/>
                  </a:cubicBezTo>
                  <a:cubicBezTo>
                    <a:pt x="532833" y="177512"/>
                    <a:pt x="528083" y="173396"/>
                    <a:pt x="518585" y="171185"/>
                  </a:cubicBezTo>
                  <a:lnTo>
                    <a:pt x="500222" y="166756"/>
                  </a:lnTo>
                  <a:cubicBezTo>
                    <a:pt x="470777" y="159794"/>
                    <a:pt x="455577" y="143343"/>
                    <a:pt x="455577" y="118668"/>
                  </a:cubicBezTo>
                  <a:cubicBezTo>
                    <a:pt x="455577" y="88928"/>
                    <a:pt x="480275" y="68048"/>
                    <a:pt x="516051" y="68048"/>
                  </a:cubicBezTo>
                  <a:close/>
                  <a:moveTo>
                    <a:pt x="731570" y="68048"/>
                  </a:moveTo>
                  <a:cubicBezTo>
                    <a:pt x="758485" y="68048"/>
                    <a:pt x="783815" y="82598"/>
                    <a:pt x="793630" y="104431"/>
                  </a:cubicBezTo>
                  <a:lnTo>
                    <a:pt x="755951" y="124363"/>
                  </a:lnTo>
                  <a:cubicBezTo>
                    <a:pt x="751204" y="112655"/>
                    <a:pt x="740754" y="105062"/>
                    <a:pt x="731253" y="105062"/>
                  </a:cubicBezTo>
                  <a:cubicBezTo>
                    <a:pt x="722705" y="105062"/>
                    <a:pt x="716691" y="109492"/>
                    <a:pt x="716691" y="115818"/>
                  </a:cubicBezTo>
                  <a:cubicBezTo>
                    <a:pt x="716691" y="121514"/>
                    <a:pt x="721124" y="125626"/>
                    <a:pt x="729672" y="127840"/>
                  </a:cubicBezTo>
                  <a:lnTo>
                    <a:pt x="749302" y="132904"/>
                  </a:lnTo>
                  <a:cubicBezTo>
                    <a:pt x="778751" y="140497"/>
                    <a:pt x="794579" y="156948"/>
                    <a:pt x="794579" y="179095"/>
                  </a:cubicBezTo>
                  <a:cubicBezTo>
                    <a:pt x="794579" y="210414"/>
                    <a:pt x="767982" y="232561"/>
                    <a:pt x="731570" y="232561"/>
                  </a:cubicBezTo>
                  <a:cubicBezTo>
                    <a:pt x="700544" y="232561"/>
                    <a:pt x="675846" y="218324"/>
                    <a:pt x="665400" y="194280"/>
                  </a:cubicBezTo>
                  <a:lnTo>
                    <a:pt x="702761" y="173713"/>
                  </a:lnTo>
                  <a:cubicBezTo>
                    <a:pt x="708461" y="186688"/>
                    <a:pt x="720174" y="194912"/>
                    <a:pt x="731888" y="194912"/>
                  </a:cubicBezTo>
                  <a:cubicBezTo>
                    <a:pt x="741703" y="194912"/>
                    <a:pt x="748352" y="190482"/>
                    <a:pt x="748352" y="182890"/>
                  </a:cubicBezTo>
                  <a:cubicBezTo>
                    <a:pt x="748352" y="177512"/>
                    <a:pt x="743602" y="173396"/>
                    <a:pt x="734105" y="171185"/>
                  </a:cubicBezTo>
                  <a:lnTo>
                    <a:pt x="715742" y="166756"/>
                  </a:lnTo>
                  <a:cubicBezTo>
                    <a:pt x="686297" y="159794"/>
                    <a:pt x="671096" y="143343"/>
                    <a:pt x="671096" y="118668"/>
                  </a:cubicBezTo>
                  <a:cubicBezTo>
                    <a:pt x="671096" y="88928"/>
                    <a:pt x="695794" y="68048"/>
                    <a:pt x="731570" y="68048"/>
                  </a:cubicBezTo>
                  <a:close/>
                  <a:moveTo>
                    <a:pt x="243314" y="68047"/>
                  </a:moveTo>
                  <a:cubicBezTo>
                    <a:pt x="290490" y="68047"/>
                    <a:pt x="323101" y="102533"/>
                    <a:pt x="323101" y="151569"/>
                  </a:cubicBezTo>
                  <a:cubicBezTo>
                    <a:pt x="323101" y="156947"/>
                    <a:pt x="322783" y="161059"/>
                    <a:pt x="322466" y="162956"/>
                  </a:cubicBezTo>
                  <a:lnTo>
                    <a:pt x="207534" y="162956"/>
                  </a:lnTo>
                  <a:cubicBezTo>
                    <a:pt x="209118" y="181305"/>
                    <a:pt x="225897" y="194597"/>
                    <a:pt x="245213" y="194597"/>
                  </a:cubicBezTo>
                  <a:cubicBezTo>
                    <a:pt x="262309" y="194597"/>
                    <a:pt x="271492" y="187318"/>
                    <a:pt x="278773" y="175613"/>
                  </a:cubicBezTo>
                  <a:lnTo>
                    <a:pt x="317719" y="191116"/>
                  </a:lnTo>
                  <a:cubicBezTo>
                    <a:pt x="304738" y="216740"/>
                    <a:pt x="279408" y="232560"/>
                    <a:pt x="245213" y="232560"/>
                  </a:cubicBezTo>
                  <a:cubicBezTo>
                    <a:pt x="196452" y="232560"/>
                    <a:pt x="162260" y="198709"/>
                    <a:pt x="162260" y="150303"/>
                  </a:cubicBezTo>
                  <a:cubicBezTo>
                    <a:pt x="162260" y="103168"/>
                    <a:pt x="197087" y="68047"/>
                    <a:pt x="243314" y="68047"/>
                  </a:cubicBezTo>
                  <a:close/>
                  <a:moveTo>
                    <a:pt x="1002285" y="68047"/>
                  </a:moveTo>
                  <a:cubicBezTo>
                    <a:pt x="1049457" y="68047"/>
                    <a:pt x="1082068" y="102533"/>
                    <a:pt x="1082068" y="151569"/>
                  </a:cubicBezTo>
                  <a:cubicBezTo>
                    <a:pt x="1082068" y="156947"/>
                    <a:pt x="1081754" y="161059"/>
                    <a:pt x="1081436" y="162956"/>
                  </a:cubicBezTo>
                  <a:lnTo>
                    <a:pt x="966504" y="162956"/>
                  </a:lnTo>
                  <a:cubicBezTo>
                    <a:pt x="968089" y="181305"/>
                    <a:pt x="984871" y="194597"/>
                    <a:pt x="1004183" y="194597"/>
                  </a:cubicBezTo>
                  <a:cubicBezTo>
                    <a:pt x="1021279" y="194597"/>
                    <a:pt x="1030463" y="187318"/>
                    <a:pt x="1037743" y="175613"/>
                  </a:cubicBezTo>
                  <a:lnTo>
                    <a:pt x="1076689" y="191116"/>
                  </a:lnTo>
                  <a:cubicBezTo>
                    <a:pt x="1063709" y="216740"/>
                    <a:pt x="1038379" y="232560"/>
                    <a:pt x="1004183" y="232560"/>
                  </a:cubicBezTo>
                  <a:cubicBezTo>
                    <a:pt x="955422" y="232560"/>
                    <a:pt x="921231" y="198709"/>
                    <a:pt x="921231" y="150303"/>
                  </a:cubicBezTo>
                  <a:cubicBezTo>
                    <a:pt x="921231" y="103168"/>
                    <a:pt x="956058" y="68047"/>
                    <a:pt x="1002285" y="68047"/>
                  </a:cubicBezTo>
                  <a:close/>
                  <a:moveTo>
                    <a:pt x="871424" y="26288"/>
                  </a:moveTo>
                  <a:lnTo>
                    <a:pt x="871424" y="72161"/>
                  </a:lnTo>
                  <a:lnTo>
                    <a:pt x="911002" y="72161"/>
                  </a:lnTo>
                  <a:lnTo>
                    <a:pt x="911002" y="110124"/>
                  </a:lnTo>
                  <a:lnTo>
                    <a:pt x="871424" y="110124"/>
                  </a:lnTo>
                  <a:lnTo>
                    <a:pt x="871424" y="167388"/>
                  </a:lnTo>
                  <a:cubicBezTo>
                    <a:pt x="871424" y="184157"/>
                    <a:pt x="878709" y="190797"/>
                    <a:pt x="893906" y="190797"/>
                  </a:cubicBezTo>
                  <a:cubicBezTo>
                    <a:pt x="899606" y="190797"/>
                    <a:pt x="905934" y="189217"/>
                    <a:pt x="911002" y="186054"/>
                  </a:cubicBezTo>
                  <a:lnTo>
                    <a:pt x="911002" y="225918"/>
                  </a:lnTo>
                  <a:cubicBezTo>
                    <a:pt x="904039" y="229395"/>
                    <a:pt x="893589" y="232241"/>
                    <a:pt x="878709" y="232241"/>
                  </a:cubicBezTo>
                  <a:cubicBezTo>
                    <a:pt x="845777" y="232241"/>
                    <a:pt x="825515" y="211995"/>
                    <a:pt x="825515" y="177195"/>
                  </a:cubicBezTo>
                  <a:lnTo>
                    <a:pt x="825515" y="110124"/>
                  </a:lnTo>
                  <a:lnTo>
                    <a:pt x="803351" y="110124"/>
                  </a:lnTo>
                  <a:lnTo>
                    <a:pt x="803351" y="72161"/>
                  </a:lnTo>
                  <a:lnTo>
                    <a:pt x="825515" y="72161"/>
                  </a:lnTo>
                  <a:lnTo>
                    <a:pt x="825515" y="26288"/>
                  </a:lnTo>
                  <a:lnTo>
                    <a:pt x="871424" y="26288"/>
                  </a:lnTo>
                  <a:close/>
                  <a:moveTo>
                    <a:pt x="1336417" y="26288"/>
                  </a:moveTo>
                  <a:lnTo>
                    <a:pt x="1336417" y="72161"/>
                  </a:lnTo>
                  <a:lnTo>
                    <a:pt x="1375991" y="72161"/>
                  </a:lnTo>
                  <a:lnTo>
                    <a:pt x="1375991" y="110124"/>
                  </a:lnTo>
                  <a:lnTo>
                    <a:pt x="1336417" y="110124"/>
                  </a:lnTo>
                  <a:lnTo>
                    <a:pt x="1336417" y="167388"/>
                  </a:lnTo>
                  <a:cubicBezTo>
                    <a:pt x="1336417" y="184157"/>
                    <a:pt x="1343698" y="190797"/>
                    <a:pt x="1358899" y="190797"/>
                  </a:cubicBezTo>
                  <a:cubicBezTo>
                    <a:pt x="1364595" y="190797"/>
                    <a:pt x="1370927" y="189217"/>
                    <a:pt x="1375991" y="186054"/>
                  </a:cubicBezTo>
                  <a:lnTo>
                    <a:pt x="1375991" y="225918"/>
                  </a:lnTo>
                  <a:cubicBezTo>
                    <a:pt x="1369028" y="229395"/>
                    <a:pt x="1358578" y="232241"/>
                    <a:pt x="1343698" y="232241"/>
                  </a:cubicBezTo>
                  <a:cubicBezTo>
                    <a:pt x="1310770" y="232241"/>
                    <a:pt x="1290504" y="211995"/>
                    <a:pt x="1290504" y="177195"/>
                  </a:cubicBezTo>
                  <a:lnTo>
                    <a:pt x="1290504" y="110124"/>
                  </a:lnTo>
                  <a:lnTo>
                    <a:pt x="1268344" y="110124"/>
                  </a:lnTo>
                  <a:lnTo>
                    <a:pt x="1268344" y="72161"/>
                  </a:lnTo>
                  <a:lnTo>
                    <a:pt x="1290504" y="72161"/>
                  </a:lnTo>
                  <a:lnTo>
                    <a:pt x="1290504" y="26288"/>
                  </a:lnTo>
                  <a:lnTo>
                    <a:pt x="1336417" y="26288"/>
                  </a:lnTo>
                  <a:close/>
                  <a:moveTo>
                    <a:pt x="75506" y="6990"/>
                  </a:moveTo>
                  <a:cubicBezTo>
                    <a:pt x="123632" y="6990"/>
                    <a:pt x="156874" y="32932"/>
                    <a:pt x="156874" y="78487"/>
                  </a:cubicBezTo>
                  <a:cubicBezTo>
                    <a:pt x="156874" y="123729"/>
                    <a:pt x="123632" y="149988"/>
                    <a:pt x="75506" y="149988"/>
                  </a:cubicBezTo>
                  <a:lnTo>
                    <a:pt x="47642" y="149988"/>
                  </a:lnTo>
                  <a:lnTo>
                    <a:pt x="47642" y="228446"/>
                  </a:lnTo>
                  <a:lnTo>
                    <a:pt x="148" y="228446"/>
                  </a:lnTo>
                  <a:lnTo>
                    <a:pt x="148" y="6990"/>
                  </a:lnTo>
                  <a:lnTo>
                    <a:pt x="75506" y="6990"/>
                  </a:lnTo>
                  <a:close/>
                  <a:moveTo>
                    <a:pt x="436104" y="68680"/>
                  </a:moveTo>
                  <a:cubicBezTo>
                    <a:pt x="439587" y="68680"/>
                    <a:pt x="443070" y="69311"/>
                    <a:pt x="444020" y="69629"/>
                  </a:cubicBezTo>
                  <a:lnTo>
                    <a:pt x="444020" y="117085"/>
                  </a:lnTo>
                  <a:cubicBezTo>
                    <a:pt x="441486" y="115819"/>
                    <a:pt x="437053" y="115188"/>
                    <a:pt x="432302" y="115188"/>
                  </a:cubicBezTo>
                  <a:cubicBezTo>
                    <a:pt x="406659" y="115188"/>
                    <a:pt x="391461" y="134168"/>
                    <a:pt x="391461" y="164856"/>
                  </a:cubicBezTo>
                  <a:lnTo>
                    <a:pt x="391461" y="228446"/>
                  </a:lnTo>
                  <a:lnTo>
                    <a:pt x="345552" y="228446"/>
                  </a:lnTo>
                  <a:lnTo>
                    <a:pt x="345552" y="72161"/>
                  </a:lnTo>
                  <a:lnTo>
                    <a:pt x="391144" y="72161"/>
                  </a:lnTo>
                  <a:lnTo>
                    <a:pt x="391144" y="97788"/>
                  </a:lnTo>
                  <a:cubicBezTo>
                    <a:pt x="399378" y="79753"/>
                    <a:pt x="415838" y="68680"/>
                    <a:pt x="436104" y="68680"/>
                  </a:cubicBezTo>
                  <a:close/>
                  <a:moveTo>
                    <a:pt x="646753" y="72159"/>
                  </a:moveTo>
                  <a:lnTo>
                    <a:pt x="646753" y="228445"/>
                  </a:lnTo>
                  <a:lnTo>
                    <a:pt x="600526" y="228445"/>
                  </a:lnTo>
                  <a:lnTo>
                    <a:pt x="600526" y="72159"/>
                  </a:lnTo>
                  <a:lnTo>
                    <a:pt x="646753" y="72159"/>
                  </a:lnTo>
                  <a:close/>
                  <a:moveTo>
                    <a:pt x="1196977" y="68048"/>
                  </a:moveTo>
                  <a:cubicBezTo>
                    <a:pt x="1232753" y="68048"/>
                    <a:pt x="1254603" y="92406"/>
                    <a:pt x="1254603" y="131957"/>
                  </a:cubicBezTo>
                  <a:lnTo>
                    <a:pt x="1254603" y="228446"/>
                  </a:lnTo>
                  <a:lnTo>
                    <a:pt x="1208373" y="228446"/>
                  </a:lnTo>
                  <a:lnTo>
                    <a:pt x="1208373" y="142709"/>
                  </a:lnTo>
                  <a:cubicBezTo>
                    <a:pt x="1208373" y="122149"/>
                    <a:pt x="1198244" y="110441"/>
                    <a:pt x="1180195" y="110441"/>
                  </a:cubicBezTo>
                  <a:cubicBezTo>
                    <a:pt x="1162464" y="110441"/>
                    <a:pt x="1150750" y="123729"/>
                    <a:pt x="1150750" y="145558"/>
                  </a:cubicBezTo>
                  <a:lnTo>
                    <a:pt x="1150750" y="228446"/>
                  </a:lnTo>
                  <a:lnTo>
                    <a:pt x="1104523" y="228446"/>
                  </a:lnTo>
                  <a:lnTo>
                    <a:pt x="1104523" y="72160"/>
                  </a:lnTo>
                  <a:lnTo>
                    <a:pt x="1150750" y="72160"/>
                  </a:lnTo>
                  <a:lnTo>
                    <a:pt x="1150750" y="92092"/>
                  </a:lnTo>
                  <a:cubicBezTo>
                    <a:pt x="1160251" y="76907"/>
                    <a:pt x="1176080" y="68048"/>
                    <a:pt x="1196977" y="68048"/>
                  </a:cubicBezTo>
                  <a:close/>
                  <a:moveTo>
                    <a:pt x="242996" y="104116"/>
                  </a:moveTo>
                  <a:cubicBezTo>
                    <a:pt x="224633" y="104116"/>
                    <a:pt x="209750" y="118035"/>
                    <a:pt x="207851" y="132903"/>
                  </a:cubicBezTo>
                  <a:lnTo>
                    <a:pt x="277823" y="132903"/>
                  </a:lnTo>
                  <a:cubicBezTo>
                    <a:pt x="275925" y="116138"/>
                    <a:pt x="261677" y="104116"/>
                    <a:pt x="242996" y="104116"/>
                  </a:cubicBezTo>
                  <a:close/>
                  <a:moveTo>
                    <a:pt x="1001967" y="104116"/>
                  </a:moveTo>
                  <a:cubicBezTo>
                    <a:pt x="983604" y="104116"/>
                    <a:pt x="968721" y="118035"/>
                    <a:pt x="966822" y="132903"/>
                  </a:cubicBezTo>
                  <a:lnTo>
                    <a:pt x="1036794" y="132903"/>
                  </a:lnTo>
                  <a:cubicBezTo>
                    <a:pt x="1034895" y="116138"/>
                    <a:pt x="1020648" y="104116"/>
                    <a:pt x="1001967" y="104116"/>
                  </a:cubicBezTo>
                  <a:close/>
                  <a:moveTo>
                    <a:pt x="76452" y="49700"/>
                  </a:moveTo>
                  <a:lnTo>
                    <a:pt x="47642" y="49700"/>
                  </a:lnTo>
                  <a:lnTo>
                    <a:pt x="47642" y="107909"/>
                  </a:lnTo>
                  <a:lnTo>
                    <a:pt x="76452" y="107909"/>
                  </a:lnTo>
                  <a:cubicBezTo>
                    <a:pt x="95450" y="107909"/>
                    <a:pt x="109066" y="97153"/>
                    <a:pt x="109066" y="78805"/>
                  </a:cubicBezTo>
                  <a:cubicBezTo>
                    <a:pt x="109066" y="60456"/>
                    <a:pt x="95450" y="49700"/>
                    <a:pt x="76452" y="49700"/>
                  </a:cubicBezTo>
                  <a:close/>
                  <a:moveTo>
                    <a:pt x="623640" y="27"/>
                  </a:moveTo>
                  <a:cubicBezTo>
                    <a:pt x="638519" y="27"/>
                    <a:pt x="650551" y="12366"/>
                    <a:pt x="650551" y="26917"/>
                  </a:cubicBezTo>
                  <a:cubicBezTo>
                    <a:pt x="650551" y="41471"/>
                    <a:pt x="638519" y="53810"/>
                    <a:pt x="623640" y="53810"/>
                  </a:cubicBezTo>
                  <a:cubicBezTo>
                    <a:pt x="608757" y="53810"/>
                    <a:pt x="596729" y="41471"/>
                    <a:pt x="596729" y="26917"/>
                  </a:cubicBezTo>
                  <a:cubicBezTo>
                    <a:pt x="596729" y="12366"/>
                    <a:pt x="608757" y="27"/>
                    <a:pt x="623640" y="27"/>
                  </a:cubicBezTo>
                  <a:close/>
                </a:path>
              </a:pathLst>
            </a:custGeom>
            <a:solidFill>
              <a:schemeClr val="tx2"/>
            </a:solidFill>
            <a:ln w="3905" cap="flat">
              <a:noFill/>
              <a:prstDash val="solid"/>
              <a:miter/>
            </a:ln>
          </p:spPr>
          <p:txBody>
            <a:bodyPr rtlCol="0" anchor="ctr"/>
            <a:lstStyle/>
            <a:p>
              <a:endParaRPr lang="en-US" dirty="0"/>
            </a:p>
          </p:txBody>
        </p:sp>
        <p:sp>
          <p:nvSpPr>
            <p:cNvPr id="8" name="Graphic 6">
              <a:extLst>
                <a:ext uri="{FF2B5EF4-FFF2-40B4-BE49-F238E27FC236}">
                  <a16:creationId xmlns:a16="http://schemas.microsoft.com/office/drawing/2014/main" id="{32364BB8-5033-4E4B-8F35-7CA8E38265C9}"/>
                </a:ext>
              </a:extLst>
            </p:cNvPr>
            <p:cNvSpPr/>
            <p:nvPr/>
          </p:nvSpPr>
          <p:spPr>
            <a:xfrm>
              <a:off x="3721526" y="2201333"/>
              <a:ext cx="410808" cy="439199"/>
            </a:xfrm>
            <a:custGeom>
              <a:avLst/>
              <a:gdLst>
                <a:gd name="connsiteX0" fmla="*/ 405227 w 410808"/>
                <a:gd name="connsiteY0" fmla="*/ 72915 h 439199"/>
                <a:gd name="connsiteX1" fmla="*/ 383294 w 410808"/>
                <a:gd name="connsiteY1" fmla="*/ 34663 h 439199"/>
                <a:gd name="connsiteX2" fmla="*/ 348424 w 410808"/>
                <a:gd name="connsiteY2" fmla="*/ 8998 h 439199"/>
                <a:gd name="connsiteX3" fmla="*/ 265296 w 410808"/>
                <a:gd name="connsiteY3" fmla="*/ 8948 h 439199"/>
                <a:gd name="connsiteX4" fmla="*/ 209272 w 410808"/>
                <a:gd name="connsiteY4" fmla="*/ 71420 h 439199"/>
                <a:gd name="connsiteX5" fmla="*/ 204362 w 410808"/>
                <a:gd name="connsiteY5" fmla="*/ 92591 h 439199"/>
                <a:gd name="connsiteX6" fmla="*/ 203494 w 410808"/>
                <a:gd name="connsiteY6" fmla="*/ 113947 h 439199"/>
                <a:gd name="connsiteX7" fmla="*/ 203862 w 410808"/>
                <a:gd name="connsiteY7" fmla="*/ 155087 h 439199"/>
                <a:gd name="connsiteX8" fmla="*/ 204482 w 410808"/>
                <a:gd name="connsiteY8" fmla="*/ 237371 h 439199"/>
                <a:gd name="connsiteX9" fmla="*/ 204703 w 410808"/>
                <a:gd name="connsiteY9" fmla="*/ 278511 h 439199"/>
                <a:gd name="connsiteX10" fmla="*/ 204760 w 410808"/>
                <a:gd name="connsiteY10" fmla="*/ 299081 h 439199"/>
                <a:gd name="connsiteX11" fmla="*/ 204892 w 410808"/>
                <a:gd name="connsiteY11" fmla="*/ 309309 h 439199"/>
                <a:gd name="connsiteX12" fmla="*/ 204642 w 410808"/>
                <a:gd name="connsiteY12" fmla="*/ 319233 h 439199"/>
                <a:gd name="connsiteX13" fmla="*/ 202117 w 410808"/>
                <a:gd name="connsiteY13" fmla="*/ 339029 h 439199"/>
                <a:gd name="connsiteX14" fmla="*/ 195891 w 410808"/>
                <a:gd name="connsiteY14" fmla="*/ 358138 h 439199"/>
                <a:gd name="connsiteX15" fmla="*/ 172778 w 410808"/>
                <a:gd name="connsiteY15" fmla="*/ 390919 h 439199"/>
                <a:gd name="connsiteX16" fmla="*/ 99701 w 410808"/>
                <a:gd name="connsiteY16" fmla="*/ 416828 h 439199"/>
                <a:gd name="connsiteX17" fmla="*/ 61780 w 410808"/>
                <a:gd name="connsiteY17" fmla="*/ 405754 h 439199"/>
                <a:gd name="connsiteX18" fmla="*/ 31507 w 410808"/>
                <a:gd name="connsiteY18" fmla="*/ 379649 h 439199"/>
                <a:gd name="connsiteX19" fmla="*/ 20639 w 410808"/>
                <a:gd name="connsiteY19" fmla="*/ 362519 h 439199"/>
                <a:gd name="connsiteX20" fmla="*/ 13089 w 410808"/>
                <a:gd name="connsiteY20" fmla="*/ 343608 h 439199"/>
                <a:gd name="connsiteX21" fmla="*/ 10038 w 410808"/>
                <a:gd name="connsiteY21" fmla="*/ 303436 h 439199"/>
                <a:gd name="connsiteX22" fmla="*/ 14586 w 410808"/>
                <a:gd name="connsiteY22" fmla="*/ 283970 h 439199"/>
                <a:gd name="connsiteX23" fmla="*/ 22408 w 410808"/>
                <a:gd name="connsiteY23" fmla="*/ 266007 h 439199"/>
                <a:gd name="connsiteX24" fmla="*/ 32914 w 410808"/>
                <a:gd name="connsiteY24" fmla="*/ 250254 h 439199"/>
                <a:gd name="connsiteX25" fmla="*/ 45733 w 410808"/>
                <a:gd name="connsiteY25" fmla="*/ 237251 h 439199"/>
                <a:gd name="connsiteX26" fmla="*/ 113570 w 410808"/>
                <a:gd name="connsiteY26" fmla="*/ 215045 h 439199"/>
                <a:gd name="connsiteX27" fmla="*/ 191127 w 410808"/>
                <a:gd name="connsiteY27" fmla="*/ 215325 h 439199"/>
                <a:gd name="connsiteX28" fmla="*/ 190929 w 410808"/>
                <a:gd name="connsiteY28" fmla="*/ 187223 h 439199"/>
                <a:gd name="connsiteX29" fmla="*/ 113703 w 410808"/>
                <a:gd name="connsiteY29" fmla="*/ 191528 h 439199"/>
                <a:gd name="connsiteX30" fmla="*/ 71854 w 410808"/>
                <a:gd name="connsiteY30" fmla="*/ 201940 h 439199"/>
                <a:gd name="connsiteX31" fmla="*/ 52843 w 410808"/>
                <a:gd name="connsiteY31" fmla="*/ 212357 h 439199"/>
                <a:gd name="connsiteX32" fmla="*/ 36125 w 410808"/>
                <a:gd name="connsiteY32" fmla="*/ 225973 h 439199"/>
                <a:gd name="connsiteX33" fmla="*/ 22431 w 410808"/>
                <a:gd name="connsiteY33" fmla="*/ 242521 h 439199"/>
                <a:gd name="connsiteX34" fmla="*/ 11996 w 410808"/>
                <a:gd name="connsiteY34" fmla="*/ 261262 h 439199"/>
                <a:gd name="connsiteX35" fmla="*/ 653 w 410808"/>
                <a:gd name="connsiteY35" fmla="*/ 302749 h 439199"/>
                <a:gd name="connsiteX36" fmla="*/ 3454 w 410808"/>
                <a:gd name="connsiteY36" fmla="*/ 346888 h 439199"/>
                <a:gd name="connsiteX37" fmla="*/ 21308 w 410808"/>
                <a:gd name="connsiteY37" fmla="*/ 388209 h 439199"/>
                <a:gd name="connsiteX38" fmla="*/ 54074 w 410808"/>
                <a:gd name="connsiteY38" fmla="*/ 420941 h 439199"/>
                <a:gd name="connsiteX39" fmla="*/ 98217 w 410808"/>
                <a:gd name="connsiteY39" fmla="*/ 437778 h 439199"/>
                <a:gd name="connsiteX40" fmla="*/ 104095 w 410808"/>
                <a:gd name="connsiteY40" fmla="*/ 438545 h 439199"/>
                <a:gd name="connsiteX41" fmla="*/ 110082 w 410808"/>
                <a:gd name="connsiteY41" fmla="*/ 439039 h 439199"/>
                <a:gd name="connsiteX42" fmla="*/ 116215 w 410808"/>
                <a:gd name="connsiteY42" fmla="*/ 439187 h 439199"/>
                <a:gd name="connsiteX43" fmla="*/ 122350 w 410808"/>
                <a:gd name="connsiteY43" fmla="*/ 438993 h 439199"/>
                <a:gd name="connsiteX44" fmla="*/ 146552 w 410808"/>
                <a:gd name="connsiteY44" fmla="*/ 434799 h 439199"/>
                <a:gd name="connsiteX45" fmla="*/ 169484 w 410808"/>
                <a:gd name="connsiteY45" fmla="*/ 425577 h 439199"/>
                <a:gd name="connsiteX46" fmla="*/ 190254 w 410808"/>
                <a:gd name="connsiteY46" fmla="*/ 411687 h 439199"/>
                <a:gd name="connsiteX47" fmla="*/ 221565 w 410808"/>
                <a:gd name="connsiteY47" fmla="*/ 371865 h 439199"/>
                <a:gd name="connsiteX48" fmla="*/ 224367 w 410808"/>
                <a:gd name="connsiteY48" fmla="*/ 366059 h 439199"/>
                <a:gd name="connsiteX49" fmla="*/ 226845 w 410808"/>
                <a:gd name="connsiteY49" fmla="*/ 360095 h 439199"/>
                <a:gd name="connsiteX50" fmla="*/ 230857 w 410808"/>
                <a:gd name="connsiteY50" fmla="*/ 347813 h 439199"/>
                <a:gd name="connsiteX51" fmla="*/ 235423 w 410808"/>
                <a:gd name="connsiteY51" fmla="*/ 322496 h 439199"/>
                <a:gd name="connsiteX52" fmla="*/ 236294 w 410808"/>
                <a:gd name="connsiteY52" fmla="*/ 309750 h 439199"/>
                <a:gd name="connsiteX53" fmla="*/ 236501 w 410808"/>
                <a:gd name="connsiteY53" fmla="*/ 304226 h 439199"/>
                <a:gd name="connsiteX54" fmla="*/ 236760 w 410808"/>
                <a:gd name="connsiteY54" fmla="*/ 299081 h 439199"/>
                <a:gd name="connsiteX55" fmla="*/ 237715 w 410808"/>
                <a:gd name="connsiteY55" fmla="*/ 278511 h 439199"/>
                <a:gd name="connsiteX56" fmla="*/ 238620 w 410808"/>
                <a:gd name="connsiteY56" fmla="*/ 237371 h 439199"/>
                <a:gd name="connsiteX57" fmla="*/ 240359 w 410808"/>
                <a:gd name="connsiteY57" fmla="*/ 155087 h 439199"/>
                <a:gd name="connsiteX58" fmla="*/ 241196 w 410808"/>
                <a:gd name="connsiteY58" fmla="*/ 113947 h 439199"/>
                <a:gd name="connsiteX59" fmla="*/ 241280 w 410808"/>
                <a:gd name="connsiteY59" fmla="*/ 108804 h 439199"/>
                <a:gd name="connsiteX60" fmla="*/ 241306 w 410808"/>
                <a:gd name="connsiteY60" fmla="*/ 107574 h 439199"/>
                <a:gd name="connsiteX61" fmla="*/ 241356 w 410808"/>
                <a:gd name="connsiteY61" fmla="*/ 106714 h 439199"/>
                <a:gd name="connsiteX62" fmla="*/ 241442 w 410808"/>
                <a:gd name="connsiteY62" fmla="*/ 104992 h 439199"/>
                <a:gd name="connsiteX63" fmla="*/ 242208 w 410808"/>
                <a:gd name="connsiteY63" fmla="*/ 98195 h 439199"/>
                <a:gd name="connsiteX64" fmla="*/ 245531 w 410808"/>
                <a:gd name="connsiteY64" fmla="*/ 85091 h 439199"/>
                <a:gd name="connsiteX65" fmla="*/ 259313 w 410808"/>
                <a:gd name="connsiteY65" fmla="*/ 62189 h 439199"/>
                <a:gd name="connsiteX66" fmla="*/ 280612 w 410808"/>
                <a:gd name="connsiteY66" fmla="*/ 46525 h 439199"/>
                <a:gd name="connsiteX67" fmla="*/ 306280 w 410808"/>
                <a:gd name="connsiteY67" fmla="*/ 41060 h 439199"/>
                <a:gd name="connsiteX68" fmla="*/ 332208 w 410808"/>
                <a:gd name="connsiteY68" fmla="*/ 46223 h 439199"/>
                <a:gd name="connsiteX69" fmla="*/ 354259 w 410808"/>
                <a:gd name="connsiteY69" fmla="*/ 61931 h 439199"/>
                <a:gd name="connsiteX70" fmla="*/ 368713 w 410808"/>
                <a:gd name="connsiteY70" fmla="*/ 85641 h 439199"/>
                <a:gd name="connsiteX71" fmla="*/ 372929 w 410808"/>
                <a:gd name="connsiteY71" fmla="*/ 113809 h 439199"/>
                <a:gd name="connsiteX72" fmla="*/ 366004 w 410808"/>
                <a:gd name="connsiteY72" fmla="*/ 141782 h 439199"/>
                <a:gd name="connsiteX73" fmla="*/ 348408 w 410808"/>
                <a:gd name="connsiteY73" fmla="*/ 164901 h 439199"/>
                <a:gd name="connsiteX74" fmla="*/ 322992 w 410808"/>
                <a:gd name="connsiteY74" fmla="*/ 178673 h 439199"/>
                <a:gd name="connsiteX75" fmla="*/ 308664 w 410808"/>
                <a:gd name="connsiteY75" fmla="*/ 181411 h 439199"/>
                <a:gd name="connsiteX76" fmla="*/ 306826 w 410808"/>
                <a:gd name="connsiteY76" fmla="*/ 181527 h 439199"/>
                <a:gd name="connsiteX77" fmla="*/ 304809 w 410808"/>
                <a:gd name="connsiteY77" fmla="*/ 181640 h 439199"/>
                <a:gd name="connsiteX78" fmla="*/ 299847 w 410808"/>
                <a:gd name="connsiteY78" fmla="*/ 181779 h 439199"/>
                <a:gd name="connsiteX79" fmla="*/ 289923 w 410808"/>
                <a:gd name="connsiteY79" fmla="*/ 182053 h 439199"/>
                <a:gd name="connsiteX80" fmla="*/ 252958 w 410808"/>
                <a:gd name="connsiteY80" fmla="*/ 183076 h 439199"/>
                <a:gd name="connsiteX81" fmla="*/ 252277 w 410808"/>
                <a:gd name="connsiteY81" fmla="*/ 215384 h 439199"/>
                <a:gd name="connsiteX82" fmla="*/ 289923 w 410808"/>
                <a:gd name="connsiteY82" fmla="*/ 215898 h 439199"/>
                <a:gd name="connsiteX83" fmla="*/ 299847 w 410808"/>
                <a:gd name="connsiteY83" fmla="*/ 216033 h 439199"/>
                <a:gd name="connsiteX84" fmla="*/ 304809 w 410808"/>
                <a:gd name="connsiteY84" fmla="*/ 216102 h 439199"/>
                <a:gd name="connsiteX85" fmla="*/ 310123 w 410808"/>
                <a:gd name="connsiteY85" fmla="*/ 216052 h 439199"/>
                <a:gd name="connsiteX86" fmla="*/ 331451 w 410808"/>
                <a:gd name="connsiteY86" fmla="*/ 213097 h 439199"/>
                <a:gd name="connsiteX87" fmla="*/ 370314 w 410808"/>
                <a:gd name="connsiteY87" fmla="*/ 194020 h 439199"/>
                <a:gd name="connsiteX88" fmla="*/ 398200 w 410808"/>
                <a:gd name="connsiteY88" fmla="*/ 159964 h 439199"/>
                <a:gd name="connsiteX89" fmla="*/ 405227 w 410808"/>
                <a:gd name="connsiteY89" fmla="*/ 72915 h 43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10808" h="439199">
                  <a:moveTo>
                    <a:pt x="405227" y="72915"/>
                  </a:moveTo>
                  <a:cubicBezTo>
                    <a:pt x="400578" y="58757"/>
                    <a:pt x="393120" y="45570"/>
                    <a:pt x="383294" y="34663"/>
                  </a:cubicBezTo>
                  <a:cubicBezTo>
                    <a:pt x="373506" y="23731"/>
                    <a:pt x="361554" y="14946"/>
                    <a:pt x="348424" y="8998"/>
                  </a:cubicBezTo>
                  <a:cubicBezTo>
                    <a:pt x="322142" y="-3040"/>
                    <a:pt x="291299" y="-2942"/>
                    <a:pt x="265296" y="8948"/>
                  </a:cubicBezTo>
                  <a:cubicBezTo>
                    <a:pt x="239223" y="20705"/>
                    <a:pt x="218629" y="43946"/>
                    <a:pt x="209272" y="71420"/>
                  </a:cubicBezTo>
                  <a:cubicBezTo>
                    <a:pt x="206934" y="78283"/>
                    <a:pt x="205287" y="85393"/>
                    <a:pt x="204362" y="92591"/>
                  </a:cubicBezTo>
                  <a:cubicBezTo>
                    <a:pt x="203373" y="99719"/>
                    <a:pt x="203378" y="107278"/>
                    <a:pt x="203494" y="113947"/>
                  </a:cubicBezTo>
                  <a:lnTo>
                    <a:pt x="203862" y="155087"/>
                  </a:lnTo>
                  <a:lnTo>
                    <a:pt x="204482" y="237371"/>
                  </a:lnTo>
                  <a:lnTo>
                    <a:pt x="204703" y="278511"/>
                  </a:lnTo>
                  <a:cubicBezTo>
                    <a:pt x="204730" y="285369"/>
                    <a:pt x="204655" y="292225"/>
                    <a:pt x="204760" y="299081"/>
                  </a:cubicBezTo>
                  <a:cubicBezTo>
                    <a:pt x="204797" y="302485"/>
                    <a:pt x="204913" y="305996"/>
                    <a:pt x="204892" y="309309"/>
                  </a:cubicBezTo>
                  <a:cubicBezTo>
                    <a:pt x="204935" y="312621"/>
                    <a:pt x="204706" y="315914"/>
                    <a:pt x="204642" y="319233"/>
                  </a:cubicBezTo>
                  <a:cubicBezTo>
                    <a:pt x="204223" y="325837"/>
                    <a:pt x="203496" y="332475"/>
                    <a:pt x="202117" y="339029"/>
                  </a:cubicBezTo>
                  <a:cubicBezTo>
                    <a:pt x="200780" y="345595"/>
                    <a:pt x="198632" y="352005"/>
                    <a:pt x="195891" y="358138"/>
                  </a:cubicBezTo>
                  <a:cubicBezTo>
                    <a:pt x="190381" y="370388"/>
                    <a:pt x="182595" y="381725"/>
                    <a:pt x="172778" y="390919"/>
                  </a:cubicBezTo>
                  <a:cubicBezTo>
                    <a:pt x="153090" y="409188"/>
                    <a:pt x="126137" y="419148"/>
                    <a:pt x="99701" y="416828"/>
                  </a:cubicBezTo>
                  <a:cubicBezTo>
                    <a:pt x="86501" y="415924"/>
                    <a:pt x="73485" y="412131"/>
                    <a:pt x="61780" y="405754"/>
                  </a:cubicBezTo>
                  <a:cubicBezTo>
                    <a:pt x="50049" y="399398"/>
                    <a:pt x="39725" y="390368"/>
                    <a:pt x="31507" y="379649"/>
                  </a:cubicBezTo>
                  <a:cubicBezTo>
                    <a:pt x="27379" y="374303"/>
                    <a:pt x="23745" y="368555"/>
                    <a:pt x="20639" y="362519"/>
                  </a:cubicBezTo>
                  <a:cubicBezTo>
                    <a:pt x="17531" y="356489"/>
                    <a:pt x="14908" y="350172"/>
                    <a:pt x="13089" y="343608"/>
                  </a:cubicBezTo>
                  <a:cubicBezTo>
                    <a:pt x="9155" y="330566"/>
                    <a:pt x="8248" y="316667"/>
                    <a:pt x="10038" y="303436"/>
                  </a:cubicBezTo>
                  <a:cubicBezTo>
                    <a:pt x="11020" y="296807"/>
                    <a:pt x="12548" y="290269"/>
                    <a:pt x="14586" y="283970"/>
                  </a:cubicBezTo>
                  <a:cubicBezTo>
                    <a:pt x="16710" y="277693"/>
                    <a:pt x="19338" y="271666"/>
                    <a:pt x="22408" y="266007"/>
                  </a:cubicBezTo>
                  <a:cubicBezTo>
                    <a:pt x="25433" y="260324"/>
                    <a:pt x="29016" y="255071"/>
                    <a:pt x="32914" y="250254"/>
                  </a:cubicBezTo>
                  <a:cubicBezTo>
                    <a:pt x="36748" y="245391"/>
                    <a:pt x="41021" y="240991"/>
                    <a:pt x="45733" y="237251"/>
                  </a:cubicBezTo>
                  <a:cubicBezTo>
                    <a:pt x="64156" y="221787"/>
                    <a:pt x="88593" y="215138"/>
                    <a:pt x="113570" y="215045"/>
                  </a:cubicBezTo>
                  <a:cubicBezTo>
                    <a:pt x="139421" y="215084"/>
                    <a:pt x="165270" y="215478"/>
                    <a:pt x="191127" y="215325"/>
                  </a:cubicBezTo>
                  <a:lnTo>
                    <a:pt x="190929" y="187223"/>
                  </a:lnTo>
                  <a:cubicBezTo>
                    <a:pt x="165190" y="187793"/>
                    <a:pt x="139439" y="189580"/>
                    <a:pt x="113703" y="191528"/>
                  </a:cubicBezTo>
                  <a:cubicBezTo>
                    <a:pt x="99353" y="192625"/>
                    <a:pt x="85175" y="196201"/>
                    <a:pt x="71854" y="201940"/>
                  </a:cubicBezTo>
                  <a:cubicBezTo>
                    <a:pt x="65184" y="204763"/>
                    <a:pt x="58851" y="208380"/>
                    <a:pt x="52843" y="212357"/>
                  </a:cubicBezTo>
                  <a:cubicBezTo>
                    <a:pt x="46863" y="216392"/>
                    <a:pt x="41182" y="220860"/>
                    <a:pt x="36125" y="225973"/>
                  </a:cubicBezTo>
                  <a:cubicBezTo>
                    <a:pt x="30974" y="230977"/>
                    <a:pt x="26456" y="236607"/>
                    <a:pt x="22431" y="242521"/>
                  </a:cubicBezTo>
                  <a:cubicBezTo>
                    <a:pt x="18388" y="248430"/>
                    <a:pt x="14856" y="254692"/>
                    <a:pt x="11996" y="261262"/>
                  </a:cubicBezTo>
                  <a:cubicBezTo>
                    <a:pt x="6026" y="274304"/>
                    <a:pt x="2201" y="288266"/>
                    <a:pt x="653" y="302749"/>
                  </a:cubicBezTo>
                  <a:cubicBezTo>
                    <a:pt x="-775" y="317368"/>
                    <a:pt x="130" y="332351"/>
                    <a:pt x="3454" y="346888"/>
                  </a:cubicBezTo>
                  <a:cubicBezTo>
                    <a:pt x="6834" y="361421"/>
                    <a:pt x="12832" y="375483"/>
                    <a:pt x="21308" y="388209"/>
                  </a:cubicBezTo>
                  <a:cubicBezTo>
                    <a:pt x="29806" y="400883"/>
                    <a:pt x="40859" y="412268"/>
                    <a:pt x="54074" y="420941"/>
                  </a:cubicBezTo>
                  <a:cubicBezTo>
                    <a:pt x="67269" y="429597"/>
                    <a:pt x="82567" y="435417"/>
                    <a:pt x="98217" y="437778"/>
                  </a:cubicBezTo>
                  <a:cubicBezTo>
                    <a:pt x="100177" y="438144"/>
                    <a:pt x="102132" y="438333"/>
                    <a:pt x="104095" y="438545"/>
                  </a:cubicBezTo>
                  <a:cubicBezTo>
                    <a:pt x="106053" y="438764"/>
                    <a:pt x="108018" y="438976"/>
                    <a:pt x="110082" y="439039"/>
                  </a:cubicBezTo>
                  <a:cubicBezTo>
                    <a:pt x="112127" y="439154"/>
                    <a:pt x="114173" y="439232"/>
                    <a:pt x="116215" y="439187"/>
                  </a:cubicBezTo>
                  <a:cubicBezTo>
                    <a:pt x="118264" y="439200"/>
                    <a:pt x="120311" y="439145"/>
                    <a:pt x="122350" y="438993"/>
                  </a:cubicBezTo>
                  <a:cubicBezTo>
                    <a:pt x="130532" y="438542"/>
                    <a:pt x="138662" y="437110"/>
                    <a:pt x="146552" y="434799"/>
                  </a:cubicBezTo>
                  <a:cubicBezTo>
                    <a:pt x="154446" y="432514"/>
                    <a:pt x="162134" y="429416"/>
                    <a:pt x="169484" y="425577"/>
                  </a:cubicBezTo>
                  <a:cubicBezTo>
                    <a:pt x="176844" y="421740"/>
                    <a:pt x="183753" y="416995"/>
                    <a:pt x="190254" y="411687"/>
                  </a:cubicBezTo>
                  <a:cubicBezTo>
                    <a:pt x="203123" y="400880"/>
                    <a:pt x="213711" y="387133"/>
                    <a:pt x="221565" y="371865"/>
                  </a:cubicBezTo>
                  <a:cubicBezTo>
                    <a:pt x="222577" y="369970"/>
                    <a:pt x="223498" y="368028"/>
                    <a:pt x="224367" y="366059"/>
                  </a:cubicBezTo>
                  <a:cubicBezTo>
                    <a:pt x="225271" y="364104"/>
                    <a:pt x="226086" y="362113"/>
                    <a:pt x="226845" y="360095"/>
                  </a:cubicBezTo>
                  <a:cubicBezTo>
                    <a:pt x="228462" y="356105"/>
                    <a:pt x="229772" y="351981"/>
                    <a:pt x="230857" y="347813"/>
                  </a:cubicBezTo>
                  <a:cubicBezTo>
                    <a:pt x="233096" y="339488"/>
                    <a:pt x="234490" y="330984"/>
                    <a:pt x="235423" y="322496"/>
                  </a:cubicBezTo>
                  <a:cubicBezTo>
                    <a:pt x="235752" y="318241"/>
                    <a:pt x="236175" y="313997"/>
                    <a:pt x="236294" y="309750"/>
                  </a:cubicBezTo>
                  <a:lnTo>
                    <a:pt x="236501" y="304226"/>
                  </a:lnTo>
                  <a:lnTo>
                    <a:pt x="236760" y="299081"/>
                  </a:lnTo>
                  <a:lnTo>
                    <a:pt x="237715" y="278511"/>
                  </a:lnTo>
                  <a:lnTo>
                    <a:pt x="238620" y="237371"/>
                  </a:lnTo>
                  <a:lnTo>
                    <a:pt x="240359" y="155087"/>
                  </a:lnTo>
                  <a:lnTo>
                    <a:pt x="241196" y="113947"/>
                  </a:lnTo>
                  <a:lnTo>
                    <a:pt x="241280" y="108804"/>
                  </a:lnTo>
                  <a:lnTo>
                    <a:pt x="241306" y="107574"/>
                  </a:lnTo>
                  <a:lnTo>
                    <a:pt x="241356" y="106714"/>
                  </a:lnTo>
                  <a:lnTo>
                    <a:pt x="241442" y="104992"/>
                  </a:lnTo>
                  <a:cubicBezTo>
                    <a:pt x="241588" y="102703"/>
                    <a:pt x="241849" y="100435"/>
                    <a:pt x="242208" y="98195"/>
                  </a:cubicBezTo>
                  <a:cubicBezTo>
                    <a:pt x="242959" y="93722"/>
                    <a:pt x="243989" y="89319"/>
                    <a:pt x="245531" y="85091"/>
                  </a:cubicBezTo>
                  <a:cubicBezTo>
                    <a:pt x="248591" y="76630"/>
                    <a:pt x="253398" y="68882"/>
                    <a:pt x="259313" y="62189"/>
                  </a:cubicBezTo>
                  <a:cubicBezTo>
                    <a:pt x="265289" y="55536"/>
                    <a:pt x="272591" y="50149"/>
                    <a:pt x="280612" y="46525"/>
                  </a:cubicBezTo>
                  <a:cubicBezTo>
                    <a:pt x="288648" y="42910"/>
                    <a:pt x="297369" y="41077"/>
                    <a:pt x="306280" y="41060"/>
                  </a:cubicBezTo>
                  <a:cubicBezTo>
                    <a:pt x="315179" y="40910"/>
                    <a:pt x="323995" y="42656"/>
                    <a:pt x="332208" y="46223"/>
                  </a:cubicBezTo>
                  <a:cubicBezTo>
                    <a:pt x="340413" y="49781"/>
                    <a:pt x="347999" y="55153"/>
                    <a:pt x="354259" y="61931"/>
                  </a:cubicBezTo>
                  <a:cubicBezTo>
                    <a:pt x="360472" y="68745"/>
                    <a:pt x="365502" y="76790"/>
                    <a:pt x="368713" y="85641"/>
                  </a:cubicBezTo>
                  <a:cubicBezTo>
                    <a:pt x="371944" y="94462"/>
                    <a:pt x="373395" y="104120"/>
                    <a:pt x="372929" y="113809"/>
                  </a:cubicBezTo>
                  <a:cubicBezTo>
                    <a:pt x="372502" y="123445"/>
                    <a:pt x="370189" y="132995"/>
                    <a:pt x="366004" y="141782"/>
                  </a:cubicBezTo>
                  <a:cubicBezTo>
                    <a:pt x="361795" y="150525"/>
                    <a:pt x="355854" y="158587"/>
                    <a:pt x="348408" y="164901"/>
                  </a:cubicBezTo>
                  <a:cubicBezTo>
                    <a:pt x="340986" y="171225"/>
                    <a:pt x="332299" y="175979"/>
                    <a:pt x="322992" y="178673"/>
                  </a:cubicBezTo>
                  <a:cubicBezTo>
                    <a:pt x="318349" y="180062"/>
                    <a:pt x="313555" y="181006"/>
                    <a:pt x="308664" y="181411"/>
                  </a:cubicBezTo>
                  <a:lnTo>
                    <a:pt x="306826" y="181527"/>
                  </a:lnTo>
                  <a:cubicBezTo>
                    <a:pt x="306157" y="181562"/>
                    <a:pt x="305737" y="181629"/>
                    <a:pt x="304809" y="181640"/>
                  </a:cubicBezTo>
                  <a:lnTo>
                    <a:pt x="299847" y="181779"/>
                  </a:lnTo>
                  <a:lnTo>
                    <a:pt x="289923" y="182053"/>
                  </a:lnTo>
                  <a:lnTo>
                    <a:pt x="252958" y="183076"/>
                  </a:lnTo>
                  <a:lnTo>
                    <a:pt x="252277" y="215384"/>
                  </a:lnTo>
                  <a:lnTo>
                    <a:pt x="289923" y="215898"/>
                  </a:lnTo>
                  <a:lnTo>
                    <a:pt x="299847" y="216033"/>
                  </a:lnTo>
                  <a:lnTo>
                    <a:pt x="304809" y="216102"/>
                  </a:lnTo>
                  <a:lnTo>
                    <a:pt x="310123" y="216052"/>
                  </a:lnTo>
                  <a:cubicBezTo>
                    <a:pt x="317289" y="215826"/>
                    <a:pt x="324450" y="214829"/>
                    <a:pt x="331451" y="213097"/>
                  </a:cubicBezTo>
                  <a:cubicBezTo>
                    <a:pt x="345480" y="209706"/>
                    <a:pt x="358841" y="203157"/>
                    <a:pt x="370314" y="194020"/>
                  </a:cubicBezTo>
                  <a:cubicBezTo>
                    <a:pt x="381841" y="184933"/>
                    <a:pt x="391276" y="173115"/>
                    <a:pt x="398200" y="159964"/>
                  </a:cubicBezTo>
                  <a:cubicBezTo>
                    <a:pt x="412085" y="133541"/>
                    <a:pt x="414616" y="101255"/>
                    <a:pt x="405227" y="72915"/>
                  </a:cubicBezTo>
                </a:path>
              </a:pathLst>
            </a:custGeom>
            <a:solidFill>
              <a:srgbClr val="FD5F07"/>
            </a:solidFill>
            <a:ln w="390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650081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ver with Swoosh Lef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3CC605A-5854-9D40-8D73-AF0A3BF9D3E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26740" t="-1" r="-1" b="23541"/>
          <a:stretch/>
        </p:blipFill>
        <p:spPr>
          <a:xfrm>
            <a:off x="1297498" y="720000"/>
            <a:ext cx="10174626" cy="6138000"/>
          </a:xfrm>
          <a:prstGeom prst="rect">
            <a:avLst/>
          </a:prstGeom>
        </p:spPr>
      </p:pic>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0" y="2319867"/>
            <a:ext cx="7437120" cy="1723814"/>
          </a:xfrm>
          <a:noFill/>
        </p:spPr>
        <p:txBody>
          <a:bodyPr lIns="1296000" tIns="0" rIns="360000" bIns="18000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sz="3200" b="1" i="0" spc="-150">
                <a:solidFill>
                  <a:schemeClr val="bg1"/>
                </a:solidFill>
                <a:latin typeface="Arial Black" panose="020B0604020202020204" pitchFamily="34" charset="0"/>
                <a:cs typeface="Arial Black" panose="020B0604020202020204" pitchFamily="34" charset="0"/>
              </a:defRPr>
            </a:lvl1pPr>
          </a:lstStyle>
          <a:p>
            <a:r>
              <a:rPr lang="en-US" dirty="0"/>
              <a:t>Deck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0" y="4064000"/>
            <a:ext cx="7437120" cy="2285999"/>
          </a:xfrm>
          <a:prstGeom prst="rect">
            <a:avLst/>
          </a:prstGeom>
          <a:noFill/>
        </p:spPr>
        <p:txBody>
          <a:bodyPr lIns="1296000" tIns="180000" rIns="360000" bIns="18000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7" name="Group 6">
            <a:extLst>
              <a:ext uri="{FF2B5EF4-FFF2-40B4-BE49-F238E27FC236}">
                <a16:creationId xmlns:a16="http://schemas.microsoft.com/office/drawing/2014/main" id="{8135FD41-4CFF-BE42-9714-401D3403DEBD}"/>
              </a:ext>
            </a:extLst>
          </p:cNvPr>
          <p:cNvGrpSpPr/>
          <p:nvPr userDrawn="1"/>
        </p:nvGrpSpPr>
        <p:grpSpPr>
          <a:xfrm>
            <a:off x="1297498" y="720000"/>
            <a:ext cx="1371899" cy="1262947"/>
            <a:chOff x="3217078" y="645877"/>
            <a:chExt cx="1857509" cy="1709991"/>
          </a:xfrm>
        </p:grpSpPr>
        <p:sp>
          <p:nvSpPr>
            <p:cNvPr id="8" name="Graphic 6">
              <a:extLst>
                <a:ext uri="{FF2B5EF4-FFF2-40B4-BE49-F238E27FC236}">
                  <a16:creationId xmlns:a16="http://schemas.microsoft.com/office/drawing/2014/main" id="{1FD4C0D6-4A2F-D648-B46B-EC25A11E612C}"/>
                </a:ext>
              </a:extLst>
            </p:cNvPr>
            <p:cNvSpPr/>
            <p:nvPr/>
          </p:nvSpPr>
          <p:spPr>
            <a:xfrm>
              <a:off x="3557175" y="645877"/>
              <a:ext cx="1185839" cy="1256530"/>
            </a:xfrm>
            <a:custGeom>
              <a:avLst/>
              <a:gdLst>
                <a:gd name="connsiteX0" fmla="*/ 1169730 w 1185839"/>
                <a:gd name="connsiteY0" fmla="*/ 208605 h 1256530"/>
                <a:gd name="connsiteX1" fmla="*/ 1106417 w 1185839"/>
                <a:gd name="connsiteY1" fmla="*/ 99168 h 1256530"/>
                <a:gd name="connsiteX2" fmla="*/ 1005757 w 1185839"/>
                <a:gd name="connsiteY2" fmla="*/ 25743 h 1256530"/>
                <a:gd name="connsiteX3" fmla="*/ 765803 w 1185839"/>
                <a:gd name="connsiteY3" fmla="*/ 25600 h 1256530"/>
                <a:gd name="connsiteX4" fmla="*/ 604084 w 1185839"/>
                <a:gd name="connsiteY4" fmla="*/ 204330 h 1256530"/>
                <a:gd name="connsiteX5" fmla="*/ 589910 w 1185839"/>
                <a:gd name="connsiteY5" fmla="*/ 264899 h 1256530"/>
                <a:gd name="connsiteX6" fmla="*/ 587406 w 1185839"/>
                <a:gd name="connsiteY6" fmla="*/ 325998 h 1256530"/>
                <a:gd name="connsiteX7" fmla="*/ 588467 w 1185839"/>
                <a:gd name="connsiteY7" fmla="*/ 443697 h 1256530"/>
                <a:gd name="connsiteX8" fmla="*/ 590255 w 1185839"/>
                <a:gd name="connsiteY8" fmla="*/ 679107 h 1256530"/>
                <a:gd name="connsiteX9" fmla="*/ 590894 w 1185839"/>
                <a:gd name="connsiteY9" fmla="*/ 796807 h 1256530"/>
                <a:gd name="connsiteX10" fmla="*/ 591059 w 1185839"/>
                <a:gd name="connsiteY10" fmla="*/ 855657 h 1256530"/>
                <a:gd name="connsiteX11" fmla="*/ 591440 w 1185839"/>
                <a:gd name="connsiteY11" fmla="*/ 884920 h 1256530"/>
                <a:gd name="connsiteX12" fmla="*/ 590719 w 1185839"/>
                <a:gd name="connsiteY12" fmla="*/ 913310 h 1256530"/>
                <a:gd name="connsiteX13" fmla="*/ 583428 w 1185839"/>
                <a:gd name="connsiteY13" fmla="*/ 969943 h 1256530"/>
                <a:gd name="connsiteX14" fmla="*/ 565456 w 1185839"/>
                <a:gd name="connsiteY14" fmla="*/ 1024617 h 1256530"/>
                <a:gd name="connsiteX15" fmla="*/ 498739 w 1185839"/>
                <a:gd name="connsiteY15" fmla="*/ 1118403 h 1256530"/>
                <a:gd name="connsiteX16" fmla="*/ 287796 w 1185839"/>
                <a:gd name="connsiteY16" fmla="*/ 1192525 h 1256530"/>
                <a:gd name="connsiteX17" fmla="*/ 178334 w 1185839"/>
                <a:gd name="connsiteY17" fmla="*/ 1160849 h 1256530"/>
                <a:gd name="connsiteX18" fmla="*/ 90949 w 1185839"/>
                <a:gd name="connsiteY18" fmla="*/ 1086159 h 1256530"/>
                <a:gd name="connsiteX19" fmla="*/ 59576 w 1185839"/>
                <a:gd name="connsiteY19" fmla="*/ 1037149 h 1256530"/>
                <a:gd name="connsiteX20" fmla="*/ 37782 w 1185839"/>
                <a:gd name="connsiteY20" fmla="*/ 983043 h 1256530"/>
                <a:gd name="connsiteX21" fmla="*/ 28977 w 1185839"/>
                <a:gd name="connsiteY21" fmla="*/ 868116 h 1256530"/>
                <a:gd name="connsiteX22" fmla="*/ 42104 w 1185839"/>
                <a:gd name="connsiteY22" fmla="*/ 812426 h 1256530"/>
                <a:gd name="connsiteX23" fmla="*/ 64682 w 1185839"/>
                <a:gd name="connsiteY23" fmla="*/ 761033 h 1256530"/>
                <a:gd name="connsiteX24" fmla="*/ 95009 w 1185839"/>
                <a:gd name="connsiteY24" fmla="*/ 715966 h 1256530"/>
                <a:gd name="connsiteX25" fmla="*/ 132014 w 1185839"/>
                <a:gd name="connsiteY25" fmla="*/ 678763 h 1256530"/>
                <a:gd name="connsiteX26" fmla="*/ 327830 w 1185839"/>
                <a:gd name="connsiteY26" fmla="*/ 615235 h 1256530"/>
                <a:gd name="connsiteX27" fmla="*/ 551705 w 1185839"/>
                <a:gd name="connsiteY27" fmla="*/ 616034 h 1256530"/>
                <a:gd name="connsiteX28" fmla="*/ 551133 w 1185839"/>
                <a:gd name="connsiteY28" fmla="*/ 535637 h 1256530"/>
                <a:gd name="connsiteX29" fmla="*/ 328216 w 1185839"/>
                <a:gd name="connsiteY29" fmla="*/ 547953 h 1256530"/>
                <a:gd name="connsiteX30" fmla="*/ 207414 w 1185839"/>
                <a:gd name="connsiteY30" fmla="*/ 577741 h 1256530"/>
                <a:gd name="connsiteX31" fmla="*/ 152535 w 1185839"/>
                <a:gd name="connsiteY31" fmla="*/ 607544 h 1256530"/>
                <a:gd name="connsiteX32" fmla="*/ 104279 w 1185839"/>
                <a:gd name="connsiteY32" fmla="*/ 646499 h 1256530"/>
                <a:gd name="connsiteX33" fmla="*/ 64749 w 1185839"/>
                <a:gd name="connsiteY33" fmla="*/ 693842 h 1256530"/>
                <a:gd name="connsiteX34" fmla="*/ 34629 w 1185839"/>
                <a:gd name="connsiteY34" fmla="*/ 747458 h 1256530"/>
                <a:gd name="connsiteX35" fmla="*/ 1885 w 1185839"/>
                <a:gd name="connsiteY35" fmla="*/ 866152 h 1256530"/>
                <a:gd name="connsiteX36" fmla="*/ 9970 w 1185839"/>
                <a:gd name="connsiteY36" fmla="*/ 992430 h 1256530"/>
                <a:gd name="connsiteX37" fmla="*/ 61509 w 1185839"/>
                <a:gd name="connsiteY37" fmla="*/ 1110646 h 1256530"/>
                <a:gd name="connsiteX38" fmla="*/ 156091 w 1185839"/>
                <a:gd name="connsiteY38" fmla="*/ 1204289 h 1256530"/>
                <a:gd name="connsiteX39" fmla="*/ 283514 w 1185839"/>
                <a:gd name="connsiteY39" fmla="*/ 1252466 h 1256530"/>
                <a:gd name="connsiteX40" fmla="*/ 300480 w 1185839"/>
                <a:gd name="connsiteY40" fmla="*/ 1254654 h 1256530"/>
                <a:gd name="connsiteX41" fmla="*/ 317762 w 1185839"/>
                <a:gd name="connsiteY41" fmla="*/ 1256075 h 1256530"/>
                <a:gd name="connsiteX42" fmla="*/ 335465 w 1185839"/>
                <a:gd name="connsiteY42" fmla="*/ 1256492 h 1256530"/>
                <a:gd name="connsiteX43" fmla="*/ 353174 w 1185839"/>
                <a:gd name="connsiteY43" fmla="*/ 1255942 h 1256530"/>
                <a:gd name="connsiteX44" fmla="*/ 423035 w 1185839"/>
                <a:gd name="connsiteY44" fmla="*/ 1243941 h 1256530"/>
                <a:gd name="connsiteX45" fmla="*/ 489233 w 1185839"/>
                <a:gd name="connsiteY45" fmla="*/ 1217560 h 1256530"/>
                <a:gd name="connsiteX46" fmla="*/ 549186 w 1185839"/>
                <a:gd name="connsiteY46" fmla="*/ 1177814 h 1256530"/>
                <a:gd name="connsiteX47" fmla="*/ 639569 w 1185839"/>
                <a:gd name="connsiteY47" fmla="*/ 1063890 h 1256530"/>
                <a:gd name="connsiteX48" fmla="*/ 647655 w 1185839"/>
                <a:gd name="connsiteY48" fmla="*/ 1047275 h 1256530"/>
                <a:gd name="connsiteX49" fmla="*/ 654809 w 1185839"/>
                <a:gd name="connsiteY49" fmla="*/ 1030216 h 1256530"/>
                <a:gd name="connsiteX50" fmla="*/ 666391 w 1185839"/>
                <a:gd name="connsiteY50" fmla="*/ 995073 h 1256530"/>
                <a:gd name="connsiteX51" fmla="*/ 679574 w 1185839"/>
                <a:gd name="connsiteY51" fmla="*/ 922646 h 1256530"/>
                <a:gd name="connsiteX52" fmla="*/ 682088 w 1185839"/>
                <a:gd name="connsiteY52" fmla="*/ 886180 h 1256530"/>
                <a:gd name="connsiteX53" fmla="*/ 682688 w 1185839"/>
                <a:gd name="connsiteY53" fmla="*/ 870376 h 1256530"/>
                <a:gd name="connsiteX54" fmla="*/ 683431 w 1185839"/>
                <a:gd name="connsiteY54" fmla="*/ 855657 h 1256530"/>
                <a:gd name="connsiteX55" fmla="*/ 686184 w 1185839"/>
                <a:gd name="connsiteY55" fmla="*/ 796807 h 1256530"/>
                <a:gd name="connsiteX56" fmla="*/ 688803 w 1185839"/>
                <a:gd name="connsiteY56" fmla="*/ 679107 h 1256530"/>
                <a:gd name="connsiteX57" fmla="*/ 693813 w 1185839"/>
                <a:gd name="connsiteY57" fmla="*/ 443697 h 1256530"/>
                <a:gd name="connsiteX58" fmla="*/ 696233 w 1185839"/>
                <a:gd name="connsiteY58" fmla="*/ 325998 h 1256530"/>
                <a:gd name="connsiteX59" fmla="*/ 696480 w 1185839"/>
                <a:gd name="connsiteY59" fmla="*/ 311285 h 1256530"/>
                <a:gd name="connsiteX60" fmla="*/ 696557 w 1185839"/>
                <a:gd name="connsiteY60" fmla="*/ 307765 h 1256530"/>
                <a:gd name="connsiteX61" fmla="*/ 696699 w 1185839"/>
                <a:gd name="connsiteY61" fmla="*/ 305304 h 1256530"/>
                <a:gd name="connsiteX62" fmla="*/ 696947 w 1185839"/>
                <a:gd name="connsiteY62" fmla="*/ 300377 h 1256530"/>
                <a:gd name="connsiteX63" fmla="*/ 699157 w 1185839"/>
                <a:gd name="connsiteY63" fmla="*/ 280931 h 1256530"/>
                <a:gd name="connsiteX64" fmla="*/ 708749 w 1185839"/>
                <a:gd name="connsiteY64" fmla="*/ 243443 h 1256530"/>
                <a:gd name="connsiteX65" fmla="*/ 748535 w 1185839"/>
                <a:gd name="connsiteY65" fmla="*/ 177919 h 1256530"/>
                <a:gd name="connsiteX66" fmla="*/ 810018 w 1185839"/>
                <a:gd name="connsiteY66" fmla="*/ 133105 h 1256530"/>
                <a:gd name="connsiteX67" fmla="*/ 884104 w 1185839"/>
                <a:gd name="connsiteY67" fmla="*/ 117471 h 1256530"/>
                <a:gd name="connsiteX68" fmla="*/ 958951 w 1185839"/>
                <a:gd name="connsiteY68" fmla="*/ 132243 h 1256530"/>
                <a:gd name="connsiteX69" fmla="*/ 1022597 w 1185839"/>
                <a:gd name="connsiteY69" fmla="*/ 177183 h 1256530"/>
                <a:gd name="connsiteX70" fmla="*/ 1064326 w 1185839"/>
                <a:gd name="connsiteY70" fmla="*/ 245014 h 1256530"/>
                <a:gd name="connsiteX71" fmla="*/ 1076490 w 1185839"/>
                <a:gd name="connsiteY71" fmla="*/ 325602 h 1256530"/>
                <a:gd name="connsiteX72" fmla="*/ 1056506 w 1185839"/>
                <a:gd name="connsiteY72" fmla="*/ 405633 h 1256530"/>
                <a:gd name="connsiteX73" fmla="*/ 1005710 w 1185839"/>
                <a:gd name="connsiteY73" fmla="*/ 471775 h 1256530"/>
                <a:gd name="connsiteX74" fmla="*/ 932348 w 1185839"/>
                <a:gd name="connsiteY74" fmla="*/ 511175 h 1256530"/>
                <a:gd name="connsiteX75" fmla="*/ 890990 w 1185839"/>
                <a:gd name="connsiteY75" fmla="*/ 519008 h 1256530"/>
                <a:gd name="connsiteX76" fmla="*/ 885685 w 1185839"/>
                <a:gd name="connsiteY76" fmla="*/ 519341 h 1256530"/>
                <a:gd name="connsiteX77" fmla="*/ 879856 w 1185839"/>
                <a:gd name="connsiteY77" fmla="*/ 519664 h 1256530"/>
                <a:gd name="connsiteX78" fmla="*/ 865540 w 1185839"/>
                <a:gd name="connsiteY78" fmla="*/ 520061 h 1256530"/>
                <a:gd name="connsiteX79" fmla="*/ 836888 w 1185839"/>
                <a:gd name="connsiteY79" fmla="*/ 520844 h 1256530"/>
                <a:gd name="connsiteX80" fmla="*/ 730189 w 1185839"/>
                <a:gd name="connsiteY80" fmla="*/ 523771 h 1256530"/>
                <a:gd name="connsiteX81" fmla="*/ 728218 w 1185839"/>
                <a:gd name="connsiteY81" fmla="*/ 616204 h 1256530"/>
                <a:gd name="connsiteX82" fmla="*/ 836888 w 1185839"/>
                <a:gd name="connsiteY82" fmla="*/ 617675 h 1256530"/>
                <a:gd name="connsiteX83" fmla="*/ 865540 w 1185839"/>
                <a:gd name="connsiteY83" fmla="*/ 618061 h 1256530"/>
                <a:gd name="connsiteX84" fmla="*/ 879856 w 1185839"/>
                <a:gd name="connsiteY84" fmla="*/ 618257 h 1256530"/>
                <a:gd name="connsiteX85" fmla="*/ 895201 w 1185839"/>
                <a:gd name="connsiteY85" fmla="*/ 618114 h 1256530"/>
                <a:gd name="connsiteX86" fmla="*/ 956761 w 1185839"/>
                <a:gd name="connsiteY86" fmla="*/ 609661 h 1256530"/>
                <a:gd name="connsiteX87" fmla="*/ 1068946 w 1185839"/>
                <a:gd name="connsiteY87" fmla="*/ 555083 h 1256530"/>
                <a:gd name="connsiteX88" fmla="*/ 1149442 w 1185839"/>
                <a:gd name="connsiteY88" fmla="*/ 457649 h 1256530"/>
                <a:gd name="connsiteX89" fmla="*/ 1169730 w 1185839"/>
                <a:gd name="connsiteY89" fmla="*/ 208605 h 125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85839" h="1256530">
                  <a:moveTo>
                    <a:pt x="1169730" y="208605"/>
                  </a:moveTo>
                  <a:cubicBezTo>
                    <a:pt x="1156309" y="168101"/>
                    <a:pt x="1134783" y="130374"/>
                    <a:pt x="1106417" y="99168"/>
                  </a:cubicBezTo>
                  <a:cubicBezTo>
                    <a:pt x="1078157" y="67894"/>
                    <a:pt x="1043657" y="42759"/>
                    <a:pt x="1005757" y="25743"/>
                  </a:cubicBezTo>
                  <a:cubicBezTo>
                    <a:pt x="929891" y="-8697"/>
                    <a:pt x="840860" y="-8417"/>
                    <a:pt x="765803" y="25600"/>
                  </a:cubicBezTo>
                  <a:cubicBezTo>
                    <a:pt x="690537" y="59235"/>
                    <a:pt x="631091" y="125727"/>
                    <a:pt x="604084" y="204330"/>
                  </a:cubicBezTo>
                  <a:cubicBezTo>
                    <a:pt x="597335" y="223965"/>
                    <a:pt x="592579" y="244305"/>
                    <a:pt x="589910" y="264899"/>
                  </a:cubicBezTo>
                  <a:cubicBezTo>
                    <a:pt x="587055" y="285292"/>
                    <a:pt x="587071" y="306918"/>
                    <a:pt x="587406" y="325998"/>
                  </a:cubicBezTo>
                  <a:lnTo>
                    <a:pt x="588467" y="443697"/>
                  </a:lnTo>
                  <a:lnTo>
                    <a:pt x="590255" y="679107"/>
                  </a:lnTo>
                  <a:lnTo>
                    <a:pt x="590894" y="796807"/>
                  </a:lnTo>
                  <a:cubicBezTo>
                    <a:pt x="590971" y="816427"/>
                    <a:pt x="590755" y="836041"/>
                    <a:pt x="591059" y="855657"/>
                  </a:cubicBezTo>
                  <a:cubicBezTo>
                    <a:pt x="591167" y="865395"/>
                    <a:pt x="591502" y="875441"/>
                    <a:pt x="591440" y="884920"/>
                  </a:cubicBezTo>
                  <a:cubicBezTo>
                    <a:pt x="591564" y="894394"/>
                    <a:pt x="590904" y="903815"/>
                    <a:pt x="590719" y="913310"/>
                  </a:cubicBezTo>
                  <a:cubicBezTo>
                    <a:pt x="589508" y="932205"/>
                    <a:pt x="587411" y="951197"/>
                    <a:pt x="583428" y="969943"/>
                  </a:cubicBezTo>
                  <a:cubicBezTo>
                    <a:pt x="579569" y="988727"/>
                    <a:pt x="573371" y="1007075"/>
                    <a:pt x="565456" y="1024617"/>
                  </a:cubicBezTo>
                  <a:cubicBezTo>
                    <a:pt x="549552" y="1059665"/>
                    <a:pt x="527076" y="1092099"/>
                    <a:pt x="498739" y="1118403"/>
                  </a:cubicBezTo>
                  <a:cubicBezTo>
                    <a:pt x="441908" y="1170672"/>
                    <a:pt x="364107" y="1199165"/>
                    <a:pt x="287796" y="1192525"/>
                  </a:cubicBezTo>
                  <a:cubicBezTo>
                    <a:pt x="249694" y="1189939"/>
                    <a:pt x="212123" y="1179093"/>
                    <a:pt x="178334" y="1160849"/>
                  </a:cubicBezTo>
                  <a:cubicBezTo>
                    <a:pt x="144472" y="1142662"/>
                    <a:pt x="114671" y="1116822"/>
                    <a:pt x="90949" y="1086159"/>
                  </a:cubicBezTo>
                  <a:cubicBezTo>
                    <a:pt x="79032" y="1070862"/>
                    <a:pt x="68542" y="1054418"/>
                    <a:pt x="59576" y="1037149"/>
                  </a:cubicBezTo>
                  <a:cubicBezTo>
                    <a:pt x="50606" y="1019900"/>
                    <a:pt x="43032" y="1001827"/>
                    <a:pt x="37782" y="983043"/>
                  </a:cubicBezTo>
                  <a:cubicBezTo>
                    <a:pt x="26426" y="945733"/>
                    <a:pt x="23809" y="905969"/>
                    <a:pt x="28977" y="868116"/>
                  </a:cubicBezTo>
                  <a:cubicBezTo>
                    <a:pt x="31811" y="849152"/>
                    <a:pt x="36221" y="830447"/>
                    <a:pt x="42104" y="812426"/>
                  </a:cubicBezTo>
                  <a:cubicBezTo>
                    <a:pt x="48237" y="794467"/>
                    <a:pt x="55820" y="777224"/>
                    <a:pt x="64682" y="761033"/>
                  </a:cubicBezTo>
                  <a:cubicBezTo>
                    <a:pt x="73416" y="744774"/>
                    <a:pt x="83756" y="729748"/>
                    <a:pt x="95009" y="715966"/>
                  </a:cubicBezTo>
                  <a:cubicBezTo>
                    <a:pt x="106076" y="702051"/>
                    <a:pt x="118411" y="689465"/>
                    <a:pt x="132014" y="678763"/>
                  </a:cubicBezTo>
                  <a:cubicBezTo>
                    <a:pt x="185191" y="634521"/>
                    <a:pt x="255732" y="615500"/>
                    <a:pt x="327830" y="615235"/>
                  </a:cubicBezTo>
                  <a:cubicBezTo>
                    <a:pt x="402451" y="615345"/>
                    <a:pt x="477068" y="616474"/>
                    <a:pt x="551705" y="616034"/>
                  </a:cubicBezTo>
                  <a:lnTo>
                    <a:pt x="551133" y="535637"/>
                  </a:lnTo>
                  <a:cubicBezTo>
                    <a:pt x="476836" y="537267"/>
                    <a:pt x="402503" y="542381"/>
                    <a:pt x="328216" y="547953"/>
                  </a:cubicBezTo>
                  <a:cubicBezTo>
                    <a:pt x="286791" y="551092"/>
                    <a:pt x="245866" y="561324"/>
                    <a:pt x="207414" y="577741"/>
                  </a:cubicBezTo>
                  <a:cubicBezTo>
                    <a:pt x="188159" y="585818"/>
                    <a:pt x="169878" y="596165"/>
                    <a:pt x="152535" y="607544"/>
                  </a:cubicBezTo>
                  <a:cubicBezTo>
                    <a:pt x="135275" y="619088"/>
                    <a:pt x="118875" y="631870"/>
                    <a:pt x="104279" y="646499"/>
                  </a:cubicBezTo>
                  <a:cubicBezTo>
                    <a:pt x="89408" y="660816"/>
                    <a:pt x="76368" y="676922"/>
                    <a:pt x="64749" y="693842"/>
                  </a:cubicBezTo>
                  <a:cubicBezTo>
                    <a:pt x="53079" y="710747"/>
                    <a:pt x="42883" y="728663"/>
                    <a:pt x="34629" y="747458"/>
                  </a:cubicBezTo>
                  <a:cubicBezTo>
                    <a:pt x="17394" y="784771"/>
                    <a:pt x="6352" y="824715"/>
                    <a:pt x="1885" y="866152"/>
                  </a:cubicBezTo>
                  <a:cubicBezTo>
                    <a:pt x="-2236" y="907975"/>
                    <a:pt x="375" y="950837"/>
                    <a:pt x="9970" y="992430"/>
                  </a:cubicBezTo>
                  <a:cubicBezTo>
                    <a:pt x="19728" y="1034014"/>
                    <a:pt x="37040" y="1074243"/>
                    <a:pt x="61509" y="1110646"/>
                  </a:cubicBezTo>
                  <a:cubicBezTo>
                    <a:pt x="86039" y="1146906"/>
                    <a:pt x="117942" y="1179481"/>
                    <a:pt x="156091" y="1204289"/>
                  </a:cubicBezTo>
                  <a:cubicBezTo>
                    <a:pt x="194177" y="1229060"/>
                    <a:pt x="238338" y="1245712"/>
                    <a:pt x="283514" y="1252466"/>
                  </a:cubicBezTo>
                  <a:cubicBezTo>
                    <a:pt x="289171" y="1253508"/>
                    <a:pt x="294813" y="1254048"/>
                    <a:pt x="300480" y="1254654"/>
                  </a:cubicBezTo>
                  <a:cubicBezTo>
                    <a:pt x="306133" y="1255279"/>
                    <a:pt x="311806" y="1255895"/>
                    <a:pt x="317762" y="1256075"/>
                  </a:cubicBezTo>
                  <a:cubicBezTo>
                    <a:pt x="323666" y="1256397"/>
                    <a:pt x="329571" y="1256624"/>
                    <a:pt x="335465" y="1256492"/>
                  </a:cubicBezTo>
                  <a:cubicBezTo>
                    <a:pt x="341380" y="1256530"/>
                    <a:pt x="347290" y="1256369"/>
                    <a:pt x="353174" y="1255942"/>
                  </a:cubicBezTo>
                  <a:cubicBezTo>
                    <a:pt x="376793" y="1254645"/>
                    <a:pt x="400261" y="1250553"/>
                    <a:pt x="423035" y="1243941"/>
                  </a:cubicBezTo>
                  <a:cubicBezTo>
                    <a:pt x="445824" y="1237405"/>
                    <a:pt x="468015" y="1228539"/>
                    <a:pt x="489233" y="1217560"/>
                  </a:cubicBezTo>
                  <a:cubicBezTo>
                    <a:pt x="510476" y="1206582"/>
                    <a:pt x="530421" y="1193008"/>
                    <a:pt x="549186" y="1177814"/>
                  </a:cubicBezTo>
                  <a:cubicBezTo>
                    <a:pt x="586334" y="1146896"/>
                    <a:pt x="616899" y="1107567"/>
                    <a:pt x="639569" y="1063890"/>
                  </a:cubicBezTo>
                  <a:cubicBezTo>
                    <a:pt x="642493" y="1058472"/>
                    <a:pt x="645150" y="1052911"/>
                    <a:pt x="647655" y="1047275"/>
                  </a:cubicBezTo>
                  <a:cubicBezTo>
                    <a:pt x="650265" y="1041687"/>
                    <a:pt x="652618" y="1035994"/>
                    <a:pt x="654809" y="1030216"/>
                  </a:cubicBezTo>
                  <a:cubicBezTo>
                    <a:pt x="659476" y="1018801"/>
                    <a:pt x="663257" y="1006999"/>
                    <a:pt x="666391" y="995073"/>
                  </a:cubicBezTo>
                  <a:cubicBezTo>
                    <a:pt x="672849" y="971260"/>
                    <a:pt x="676878" y="946930"/>
                    <a:pt x="679574" y="922646"/>
                  </a:cubicBezTo>
                  <a:cubicBezTo>
                    <a:pt x="680517" y="910473"/>
                    <a:pt x="681745" y="898332"/>
                    <a:pt x="682088" y="886180"/>
                  </a:cubicBezTo>
                  <a:lnTo>
                    <a:pt x="682688" y="870376"/>
                  </a:lnTo>
                  <a:lnTo>
                    <a:pt x="683431" y="855657"/>
                  </a:lnTo>
                  <a:lnTo>
                    <a:pt x="686184" y="796807"/>
                  </a:lnTo>
                  <a:lnTo>
                    <a:pt x="688803" y="679107"/>
                  </a:lnTo>
                  <a:lnTo>
                    <a:pt x="693813" y="443697"/>
                  </a:lnTo>
                  <a:lnTo>
                    <a:pt x="696233" y="325998"/>
                  </a:lnTo>
                  <a:lnTo>
                    <a:pt x="696480" y="311285"/>
                  </a:lnTo>
                  <a:lnTo>
                    <a:pt x="696557" y="307765"/>
                  </a:lnTo>
                  <a:lnTo>
                    <a:pt x="696699" y="305304"/>
                  </a:lnTo>
                  <a:lnTo>
                    <a:pt x="696947" y="300377"/>
                  </a:lnTo>
                  <a:cubicBezTo>
                    <a:pt x="697366" y="293829"/>
                    <a:pt x="698119" y="287341"/>
                    <a:pt x="699157" y="280931"/>
                  </a:cubicBezTo>
                  <a:cubicBezTo>
                    <a:pt x="701329" y="268133"/>
                    <a:pt x="704300" y="255536"/>
                    <a:pt x="708749" y="243443"/>
                  </a:cubicBezTo>
                  <a:cubicBezTo>
                    <a:pt x="717578" y="219233"/>
                    <a:pt x="731456" y="197068"/>
                    <a:pt x="748535" y="177919"/>
                  </a:cubicBezTo>
                  <a:cubicBezTo>
                    <a:pt x="765784" y="158886"/>
                    <a:pt x="786863" y="143473"/>
                    <a:pt x="810018" y="133105"/>
                  </a:cubicBezTo>
                  <a:cubicBezTo>
                    <a:pt x="833212" y="122763"/>
                    <a:pt x="858386" y="117518"/>
                    <a:pt x="884104" y="117471"/>
                  </a:cubicBezTo>
                  <a:cubicBezTo>
                    <a:pt x="909793" y="117042"/>
                    <a:pt x="935244" y="122038"/>
                    <a:pt x="958951" y="132243"/>
                  </a:cubicBezTo>
                  <a:cubicBezTo>
                    <a:pt x="982630" y="142420"/>
                    <a:pt x="1004528" y="157791"/>
                    <a:pt x="1022597" y="177183"/>
                  </a:cubicBezTo>
                  <a:cubicBezTo>
                    <a:pt x="1040533" y="196676"/>
                    <a:pt x="1055059" y="219694"/>
                    <a:pt x="1064326" y="245014"/>
                  </a:cubicBezTo>
                  <a:cubicBezTo>
                    <a:pt x="1073651" y="270250"/>
                    <a:pt x="1077842" y="297883"/>
                    <a:pt x="1076490" y="325602"/>
                  </a:cubicBezTo>
                  <a:cubicBezTo>
                    <a:pt x="1075261" y="353171"/>
                    <a:pt x="1068584" y="380492"/>
                    <a:pt x="1056506" y="405633"/>
                  </a:cubicBezTo>
                  <a:cubicBezTo>
                    <a:pt x="1044352" y="430645"/>
                    <a:pt x="1027207" y="453712"/>
                    <a:pt x="1005710" y="471775"/>
                  </a:cubicBezTo>
                  <a:cubicBezTo>
                    <a:pt x="984288" y="489866"/>
                    <a:pt x="959209" y="503468"/>
                    <a:pt x="932348" y="511175"/>
                  </a:cubicBezTo>
                  <a:cubicBezTo>
                    <a:pt x="918946" y="515149"/>
                    <a:pt x="905106" y="517849"/>
                    <a:pt x="890990" y="519008"/>
                  </a:cubicBezTo>
                  <a:lnTo>
                    <a:pt x="885685" y="519341"/>
                  </a:lnTo>
                  <a:cubicBezTo>
                    <a:pt x="883752" y="519441"/>
                    <a:pt x="882542" y="519633"/>
                    <a:pt x="879856" y="519664"/>
                  </a:cubicBezTo>
                  <a:lnTo>
                    <a:pt x="865540" y="520061"/>
                  </a:lnTo>
                  <a:lnTo>
                    <a:pt x="836888" y="520844"/>
                  </a:lnTo>
                  <a:lnTo>
                    <a:pt x="730189" y="523771"/>
                  </a:lnTo>
                  <a:lnTo>
                    <a:pt x="728218" y="616204"/>
                  </a:lnTo>
                  <a:lnTo>
                    <a:pt x="836888" y="617675"/>
                  </a:lnTo>
                  <a:lnTo>
                    <a:pt x="865540" y="618061"/>
                  </a:lnTo>
                  <a:lnTo>
                    <a:pt x="879856" y="618257"/>
                  </a:lnTo>
                  <a:lnTo>
                    <a:pt x="895201" y="618114"/>
                  </a:lnTo>
                  <a:cubicBezTo>
                    <a:pt x="915889" y="617468"/>
                    <a:pt x="936558" y="614615"/>
                    <a:pt x="956761" y="609661"/>
                  </a:cubicBezTo>
                  <a:cubicBezTo>
                    <a:pt x="997261" y="599960"/>
                    <a:pt x="1035828" y="581224"/>
                    <a:pt x="1068946" y="555083"/>
                  </a:cubicBezTo>
                  <a:cubicBezTo>
                    <a:pt x="1102217" y="529085"/>
                    <a:pt x="1129458" y="495275"/>
                    <a:pt x="1149442" y="457649"/>
                  </a:cubicBezTo>
                  <a:cubicBezTo>
                    <a:pt x="1189523" y="382053"/>
                    <a:pt x="1196829" y="289685"/>
                    <a:pt x="1169730" y="208605"/>
                  </a:cubicBezTo>
                </a:path>
              </a:pathLst>
            </a:custGeom>
            <a:solidFill>
              <a:srgbClr val="FD5F07"/>
            </a:solidFill>
            <a:ln w="9525" cap="flat">
              <a:noFill/>
              <a:prstDash val="solid"/>
              <a:miter/>
            </a:ln>
          </p:spPr>
          <p:txBody>
            <a:bodyPr rtlCol="0" anchor="ctr"/>
            <a:lstStyle/>
            <a:p>
              <a:endParaRPr lang="en-US" dirty="0"/>
            </a:p>
          </p:txBody>
        </p:sp>
        <p:sp>
          <p:nvSpPr>
            <p:cNvPr id="9" name="Graphic 6">
              <a:extLst>
                <a:ext uri="{FF2B5EF4-FFF2-40B4-BE49-F238E27FC236}">
                  <a16:creationId xmlns:a16="http://schemas.microsoft.com/office/drawing/2014/main" id="{8B090ACA-C732-164E-B35C-3B0CC7E4CCAD}"/>
                </a:ext>
              </a:extLst>
            </p:cNvPr>
            <p:cNvSpPr/>
            <p:nvPr/>
          </p:nvSpPr>
          <p:spPr>
            <a:xfrm>
              <a:off x="3217078" y="2044492"/>
              <a:ext cx="1857509" cy="311376"/>
            </a:xfrm>
            <a:custGeom>
              <a:avLst/>
              <a:gdLst>
                <a:gd name="connsiteX0" fmla="*/ 810565 w 1857509"/>
                <a:gd name="connsiteY0" fmla="*/ 305863 h 311376"/>
                <a:gd name="connsiteX1" fmla="*/ 872975 w 1857509"/>
                <a:gd name="connsiteY1" fmla="*/ 305863 h 311376"/>
                <a:gd name="connsiteX2" fmla="*/ 872975 w 1857509"/>
                <a:gd name="connsiteY2" fmla="*/ 96590 h 311376"/>
                <a:gd name="connsiteX3" fmla="*/ 810565 w 1857509"/>
                <a:gd name="connsiteY3" fmla="*/ 96590 h 311376"/>
                <a:gd name="connsiteX4" fmla="*/ 810565 w 1857509"/>
                <a:gd name="connsiteY4" fmla="*/ 305863 h 311376"/>
                <a:gd name="connsiteX5" fmla="*/ 841770 w 1857509"/>
                <a:gd name="connsiteY5" fmla="*/ 72019 h 311376"/>
                <a:gd name="connsiteX6" fmla="*/ 805437 w 1857509"/>
                <a:gd name="connsiteY6" fmla="*/ 36005 h 311376"/>
                <a:gd name="connsiteX7" fmla="*/ 841770 w 1857509"/>
                <a:gd name="connsiteY7" fmla="*/ 0 h 311376"/>
                <a:gd name="connsiteX8" fmla="*/ 878102 w 1857509"/>
                <a:gd name="connsiteY8" fmla="*/ 36005 h 311376"/>
                <a:gd name="connsiteX9" fmla="*/ 841770 w 1857509"/>
                <a:gd name="connsiteY9" fmla="*/ 72019 h 311376"/>
                <a:gd name="connsiteX10" fmla="*/ 103016 w 1857509"/>
                <a:gd name="connsiteY10" fmla="*/ 144463 h 311376"/>
                <a:gd name="connsiteX11" fmla="*/ 64121 w 1857509"/>
                <a:gd name="connsiteY11" fmla="*/ 144463 h 311376"/>
                <a:gd name="connsiteX12" fmla="*/ 64121 w 1857509"/>
                <a:gd name="connsiteY12" fmla="*/ 66515 h 311376"/>
                <a:gd name="connsiteX13" fmla="*/ 103016 w 1857509"/>
                <a:gd name="connsiteY13" fmla="*/ 66515 h 311376"/>
                <a:gd name="connsiteX14" fmla="*/ 147049 w 1857509"/>
                <a:gd name="connsiteY14" fmla="*/ 105484 h 311376"/>
                <a:gd name="connsiteX15" fmla="*/ 103016 w 1857509"/>
                <a:gd name="connsiteY15" fmla="*/ 144463 h 311376"/>
                <a:gd name="connsiteX16" fmla="*/ 211595 w 1857509"/>
                <a:gd name="connsiteY16" fmla="*/ 105058 h 311376"/>
                <a:gd name="connsiteX17" fmla="*/ 101740 w 1857509"/>
                <a:gd name="connsiteY17" fmla="*/ 9321 h 311376"/>
                <a:gd name="connsiteX18" fmla="*/ 0 w 1857509"/>
                <a:gd name="connsiteY18" fmla="*/ 9321 h 311376"/>
                <a:gd name="connsiteX19" fmla="*/ 0 w 1857509"/>
                <a:gd name="connsiteY19" fmla="*/ 305863 h 311376"/>
                <a:gd name="connsiteX20" fmla="*/ 64121 w 1857509"/>
                <a:gd name="connsiteY20" fmla="*/ 305863 h 311376"/>
                <a:gd name="connsiteX21" fmla="*/ 64121 w 1857509"/>
                <a:gd name="connsiteY21" fmla="*/ 200805 h 311376"/>
                <a:gd name="connsiteX22" fmla="*/ 101740 w 1857509"/>
                <a:gd name="connsiteY22" fmla="*/ 200805 h 311376"/>
                <a:gd name="connsiteX23" fmla="*/ 211595 w 1857509"/>
                <a:gd name="connsiteY23" fmla="*/ 105058 h 311376"/>
                <a:gd name="connsiteX24" fmla="*/ 327867 w 1857509"/>
                <a:gd name="connsiteY24" fmla="*/ 139377 h 311376"/>
                <a:gd name="connsiteX25" fmla="*/ 374887 w 1857509"/>
                <a:gd name="connsiteY25" fmla="*/ 177929 h 311376"/>
                <a:gd name="connsiteX26" fmla="*/ 280419 w 1857509"/>
                <a:gd name="connsiteY26" fmla="*/ 177929 h 311376"/>
                <a:gd name="connsiteX27" fmla="*/ 327867 w 1857509"/>
                <a:gd name="connsiteY27" fmla="*/ 139377 h 311376"/>
                <a:gd name="connsiteX28" fmla="*/ 330860 w 1857509"/>
                <a:gd name="connsiteY28" fmla="*/ 311376 h 311376"/>
                <a:gd name="connsiteX29" fmla="*/ 428749 w 1857509"/>
                <a:gd name="connsiteY29" fmla="*/ 255877 h 311376"/>
                <a:gd name="connsiteX30" fmla="*/ 376169 w 1857509"/>
                <a:gd name="connsiteY30" fmla="*/ 235114 h 311376"/>
                <a:gd name="connsiteX31" fmla="*/ 330860 w 1857509"/>
                <a:gd name="connsiteY31" fmla="*/ 260538 h 311376"/>
                <a:gd name="connsiteX32" fmla="*/ 279990 w 1857509"/>
                <a:gd name="connsiteY32" fmla="*/ 218168 h 311376"/>
                <a:gd name="connsiteX33" fmla="*/ 435158 w 1857509"/>
                <a:gd name="connsiteY33" fmla="*/ 218168 h 311376"/>
                <a:gd name="connsiteX34" fmla="*/ 436016 w 1857509"/>
                <a:gd name="connsiteY34" fmla="*/ 202927 h 311376"/>
                <a:gd name="connsiteX35" fmla="*/ 328296 w 1857509"/>
                <a:gd name="connsiteY35" fmla="*/ 91077 h 311376"/>
                <a:gd name="connsiteX36" fmla="*/ 218866 w 1857509"/>
                <a:gd name="connsiteY36" fmla="*/ 201231 h 311376"/>
                <a:gd name="connsiteX37" fmla="*/ 330860 w 1857509"/>
                <a:gd name="connsiteY37" fmla="*/ 311376 h 311376"/>
                <a:gd name="connsiteX38" fmla="*/ 599267 w 1857509"/>
                <a:gd name="connsiteY38" fmla="*/ 156749 h 311376"/>
                <a:gd name="connsiteX39" fmla="*/ 583447 w 1857509"/>
                <a:gd name="connsiteY39" fmla="*/ 154210 h 311376"/>
                <a:gd name="connsiteX40" fmla="*/ 528309 w 1857509"/>
                <a:gd name="connsiteY40" fmla="*/ 220716 h 311376"/>
                <a:gd name="connsiteX41" fmla="*/ 528309 w 1857509"/>
                <a:gd name="connsiteY41" fmla="*/ 305863 h 311376"/>
                <a:gd name="connsiteX42" fmla="*/ 466326 w 1857509"/>
                <a:gd name="connsiteY42" fmla="*/ 305863 h 311376"/>
                <a:gd name="connsiteX43" fmla="*/ 466326 w 1857509"/>
                <a:gd name="connsiteY43" fmla="*/ 96590 h 311376"/>
                <a:gd name="connsiteX44" fmla="*/ 527879 w 1857509"/>
                <a:gd name="connsiteY44" fmla="*/ 96590 h 311376"/>
                <a:gd name="connsiteX45" fmla="*/ 527879 w 1857509"/>
                <a:gd name="connsiteY45" fmla="*/ 130908 h 311376"/>
                <a:gd name="connsiteX46" fmla="*/ 588579 w 1857509"/>
                <a:gd name="connsiteY46" fmla="*/ 91929 h 311376"/>
                <a:gd name="connsiteX47" fmla="*/ 599267 w 1857509"/>
                <a:gd name="connsiteY47" fmla="*/ 93199 h 311376"/>
                <a:gd name="connsiteX48" fmla="*/ 599267 w 1857509"/>
                <a:gd name="connsiteY48" fmla="*/ 156749 h 311376"/>
                <a:gd name="connsiteX49" fmla="*/ 693952 w 1857509"/>
                <a:gd name="connsiteY49" fmla="*/ 171147 h 311376"/>
                <a:gd name="connsiteX50" fmla="*/ 676427 w 1857509"/>
                <a:gd name="connsiteY50" fmla="*/ 155053 h 311376"/>
                <a:gd name="connsiteX51" fmla="*/ 696087 w 1857509"/>
                <a:gd name="connsiteY51" fmla="*/ 140646 h 311376"/>
                <a:gd name="connsiteX52" fmla="*/ 729432 w 1857509"/>
                <a:gd name="connsiteY52" fmla="*/ 166487 h 311376"/>
                <a:gd name="connsiteX53" fmla="*/ 780296 w 1857509"/>
                <a:gd name="connsiteY53" fmla="*/ 139803 h 311376"/>
                <a:gd name="connsiteX54" fmla="*/ 696516 w 1857509"/>
                <a:gd name="connsiteY54" fmla="*/ 91086 h 311376"/>
                <a:gd name="connsiteX55" fmla="*/ 614869 w 1857509"/>
                <a:gd name="connsiteY55" fmla="*/ 158861 h 311376"/>
                <a:gd name="connsiteX56" fmla="*/ 675145 w 1857509"/>
                <a:gd name="connsiteY56" fmla="*/ 223254 h 311376"/>
                <a:gd name="connsiteX57" fmla="*/ 699937 w 1857509"/>
                <a:gd name="connsiteY57" fmla="*/ 229184 h 311376"/>
                <a:gd name="connsiteX58" fmla="*/ 719173 w 1857509"/>
                <a:gd name="connsiteY58" fmla="*/ 244861 h 311376"/>
                <a:gd name="connsiteX59" fmla="*/ 696945 w 1857509"/>
                <a:gd name="connsiteY59" fmla="*/ 260955 h 311376"/>
                <a:gd name="connsiteX60" fmla="*/ 657615 w 1857509"/>
                <a:gd name="connsiteY60" fmla="*/ 232575 h 311376"/>
                <a:gd name="connsiteX61" fmla="*/ 607174 w 1857509"/>
                <a:gd name="connsiteY61" fmla="*/ 260112 h 311376"/>
                <a:gd name="connsiteX62" fmla="*/ 696516 w 1857509"/>
                <a:gd name="connsiteY62" fmla="*/ 311376 h 311376"/>
                <a:gd name="connsiteX63" fmla="*/ 781578 w 1857509"/>
                <a:gd name="connsiteY63" fmla="*/ 239784 h 311376"/>
                <a:gd name="connsiteX64" fmla="*/ 720454 w 1857509"/>
                <a:gd name="connsiteY64" fmla="*/ 177929 h 311376"/>
                <a:gd name="connsiteX65" fmla="*/ 693952 w 1857509"/>
                <a:gd name="connsiteY65" fmla="*/ 171147 h 311376"/>
                <a:gd name="connsiteX66" fmla="*/ 984924 w 1857509"/>
                <a:gd name="connsiteY66" fmla="*/ 171147 h 311376"/>
                <a:gd name="connsiteX67" fmla="*/ 967398 w 1857509"/>
                <a:gd name="connsiteY67" fmla="*/ 155053 h 311376"/>
                <a:gd name="connsiteX68" fmla="*/ 987057 w 1857509"/>
                <a:gd name="connsiteY68" fmla="*/ 140646 h 311376"/>
                <a:gd name="connsiteX69" fmla="*/ 1020404 w 1857509"/>
                <a:gd name="connsiteY69" fmla="*/ 166487 h 311376"/>
                <a:gd name="connsiteX70" fmla="*/ 1071268 w 1857509"/>
                <a:gd name="connsiteY70" fmla="*/ 139803 h 311376"/>
                <a:gd name="connsiteX71" fmla="*/ 987486 w 1857509"/>
                <a:gd name="connsiteY71" fmla="*/ 91086 h 311376"/>
                <a:gd name="connsiteX72" fmla="*/ 905840 w 1857509"/>
                <a:gd name="connsiteY72" fmla="*/ 158861 h 311376"/>
                <a:gd name="connsiteX73" fmla="*/ 966112 w 1857509"/>
                <a:gd name="connsiteY73" fmla="*/ 223254 h 311376"/>
                <a:gd name="connsiteX74" fmla="*/ 990905 w 1857509"/>
                <a:gd name="connsiteY74" fmla="*/ 229184 h 311376"/>
                <a:gd name="connsiteX75" fmla="*/ 1010146 w 1857509"/>
                <a:gd name="connsiteY75" fmla="*/ 244861 h 311376"/>
                <a:gd name="connsiteX76" fmla="*/ 987915 w 1857509"/>
                <a:gd name="connsiteY76" fmla="*/ 260955 h 311376"/>
                <a:gd name="connsiteX77" fmla="*/ 948591 w 1857509"/>
                <a:gd name="connsiteY77" fmla="*/ 232575 h 311376"/>
                <a:gd name="connsiteX78" fmla="*/ 898149 w 1857509"/>
                <a:gd name="connsiteY78" fmla="*/ 260112 h 311376"/>
                <a:gd name="connsiteX79" fmla="*/ 987486 w 1857509"/>
                <a:gd name="connsiteY79" fmla="*/ 311376 h 311376"/>
                <a:gd name="connsiteX80" fmla="*/ 1072554 w 1857509"/>
                <a:gd name="connsiteY80" fmla="*/ 239784 h 311376"/>
                <a:gd name="connsiteX81" fmla="*/ 1011422 w 1857509"/>
                <a:gd name="connsiteY81" fmla="*/ 177929 h 311376"/>
                <a:gd name="connsiteX82" fmla="*/ 984924 w 1857509"/>
                <a:gd name="connsiteY82" fmla="*/ 171147 h 311376"/>
                <a:gd name="connsiteX83" fmla="*/ 1176300 w 1857509"/>
                <a:gd name="connsiteY83" fmla="*/ 35162 h 311376"/>
                <a:gd name="connsiteX84" fmla="*/ 1176300 w 1857509"/>
                <a:gd name="connsiteY84" fmla="*/ 96590 h 311376"/>
                <a:gd name="connsiteX85" fmla="*/ 1229735 w 1857509"/>
                <a:gd name="connsiteY85" fmla="*/ 96590 h 311376"/>
                <a:gd name="connsiteX86" fmla="*/ 1229735 w 1857509"/>
                <a:gd name="connsiteY86" fmla="*/ 147428 h 311376"/>
                <a:gd name="connsiteX87" fmla="*/ 1176300 w 1857509"/>
                <a:gd name="connsiteY87" fmla="*/ 147428 h 311376"/>
                <a:gd name="connsiteX88" fmla="*/ 1176300 w 1857509"/>
                <a:gd name="connsiteY88" fmla="*/ 224107 h 311376"/>
                <a:gd name="connsiteX89" fmla="*/ 1206656 w 1857509"/>
                <a:gd name="connsiteY89" fmla="*/ 255451 h 311376"/>
                <a:gd name="connsiteX90" fmla="*/ 1229735 w 1857509"/>
                <a:gd name="connsiteY90" fmla="*/ 249095 h 311376"/>
                <a:gd name="connsiteX91" fmla="*/ 1229735 w 1857509"/>
                <a:gd name="connsiteY91" fmla="*/ 302482 h 311376"/>
                <a:gd name="connsiteX92" fmla="*/ 1186139 w 1857509"/>
                <a:gd name="connsiteY92" fmla="*/ 310950 h 311376"/>
                <a:gd name="connsiteX93" fmla="*/ 1114321 w 1857509"/>
                <a:gd name="connsiteY93" fmla="*/ 237236 h 311376"/>
                <a:gd name="connsiteX94" fmla="*/ 1114321 w 1857509"/>
                <a:gd name="connsiteY94" fmla="*/ 147428 h 311376"/>
                <a:gd name="connsiteX95" fmla="*/ 1084393 w 1857509"/>
                <a:gd name="connsiteY95" fmla="*/ 147428 h 311376"/>
                <a:gd name="connsiteX96" fmla="*/ 1084393 w 1857509"/>
                <a:gd name="connsiteY96" fmla="*/ 96590 h 311376"/>
                <a:gd name="connsiteX97" fmla="*/ 1114321 w 1857509"/>
                <a:gd name="connsiteY97" fmla="*/ 96590 h 311376"/>
                <a:gd name="connsiteX98" fmla="*/ 1114321 w 1857509"/>
                <a:gd name="connsiteY98" fmla="*/ 35162 h 311376"/>
                <a:gd name="connsiteX99" fmla="*/ 1176300 w 1857509"/>
                <a:gd name="connsiteY99" fmla="*/ 35162 h 311376"/>
                <a:gd name="connsiteX100" fmla="*/ 1352551 w 1857509"/>
                <a:gd name="connsiteY100" fmla="*/ 139377 h 311376"/>
                <a:gd name="connsiteX101" fmla="*/ 1399566 w 1857509"/>
                <a:gd name="connsiteY101" fmla="*/ 177929 h 311376"/>
                <a:gd name="connsiteX102" fmla="*/ 1305097 w 1857509"/>
                <a:gd name="connsiteY102" fmla="*/ 177929 h 311376"/>
                <a:gd name="connsiteX103" fmla="*/ 1352551 w 1857509"/>
                <a:gd name="connsiteY103" fmla="*/ 139377 h 311376"/>
                <a:gd name="connsiteX104" fmla="*/ 1355541 w 1857509"/>
                <a:gd name="connsiteY104" fmla="*/ 311376 h 311376"/>
                <a:gd name="connsiteX105" fmla="*/ 1453430 w 1857509"/>
                <a:gd name="connsiteY105" fmla="*/ 255877 h 311376"/>
                <a:gd name="connsiteX106" fmla="*/ 1400852 w 1857509"/>
                <a:gd name="connsiteY106" fmla="*/ 235114 h 311376"/>
                <a:gd name="connsiteX107" fmla="*/ 1355541 w 1857509"/>
                <a:gd name="connsiteY107" fmla="*/ 260538 h 311376"/>
                <a:gd name="connsiteX108" fmla="*/ 1304669 w 1857509"/>
                <a:gd name="connsiteY108" fmla="*/ 218168 h 311376"/>
                <a:gd name="connsiteX109" fmla="*/ 1459840 w 1857509"/>
                <a:gd name="connsiteY109" fmla="*/ 218168 h 311376"/>
                <a:gd name="connsiteX110" fmla="*/ 1460688 w 1857509"/>
                <a:gd name="connsiteY110" fmla="*/ 202927 h 311376"/>
                <a:gd name="connsiteX111" fmla="*/ 1352979 w 1857509"/>
                <a:gd name="connsiteY111" fmla="*/ 91077 h 311376"/>
                <a:gd name="connsiteX112" fmla="*/ 1243547 w 1857509"/>
                <a:gd name="connsiteY112" fmla="*/ 201231 h 311376"/>
                <a:gd name="connsiteX113" fmla="*/ 1355541 w 1857509"/>
                <a:gd name="connsiteY113" fmla="*/ 311376 h 311376"/>
                <a:gd name="connsiteX114" fmla="*/ 1553414 w 1857509"/>
                <a:gd name="connsiteY114" fmla="*/ 305863 h 311376"/>
                <a:gd name="connsiteX115" fmla="*/ 1491006 w 1857509"/>
                <a:gd name="connsiteY115" fmla="*/ 305863 h 311376"/>
                <a:gd name="connsiteX116" fmla="*/ 1491006 w 1857509"/>
                <a:gd name="connsiteY116" fmla="*/ 96590 h 311376"/>
                <a:gd name="connsiteX117" fmla="*/ 1553414 w 1857509"/>
                <a:gd name="connsiteY117" fmla="*/ 96590 h 311376"/>
                <a:gd name="connsiteX118" fmla="*/ 1553414 w 1857509"/>
                <a:gd name="connsiteY118" fmla="*/ 123283 h 311376"/>
                <a:gd name="connsiteX119" fmla="*/ 1615822 w 1857509"/>
                <a:gd name="connsiteY119" fmla="*/ 91086 h 311376"/>
                <a:gd name="connsiteX120" fmla="*/ 1693631 w 1857509"/>
                <a:gd name="connsiteY120" fmla="*/ 176660 h 311376"/>
                <a:gd name="connsiteX121" fmla="*/ 1693631 w 1857509"/>
                <a:gd name="connsiteY121" fmla="*/ 305863 h 311376"/>
                <a:gd name="connsiteX122" fmla="*/ 1631214 w 1857509"/>
                <a:gd name="connsiteY122" fmla="*/ 305863 h 311376"/>
                <a:gd name="connsiteX123" fmla="*/ 1631214 w 1857509"/>
                <a:gd name="connsiteY123" fmla="*/ 191058 h 311376"/>
                <a:gd name="connsiteX124" fmla="*/ 1593171 w 1857509"/>
                <a:gd name="connsiteY124" fmla="*/ 147845 h 311376"/>
                <a:gd name="connsiteX125" fmla="*/ 1553414 w 1857509"/>
                <a:gd name="connsiteY125" fmla="*/ 194875 h 311376"/>
                <a:gd name="connsiteX126" fmla="*/ 1553414 w 1857509"/>
                <a:gd name="connsiteY126" fmla="*/ 305863 h 311376"/>
                <a:gd name="connsiteX127" fmla="*/ 1804083 w 1857509"/>
                <a:gd name="connsiteY127" fmla="*/ 96590 h 311376"/>
                <a:gd name="connsiteX128" fmla="*/ 1804083 w 1857509"/>
                <a:gd name="connsiteY128" fmla="*/ 35162 h 311376"/>
                <a:gd name="connsiteX129" fmla="*/ 1742095 w 1857509"/>
                <a:gd name="connsiteY129" fmla="*/ 35162 h 311376"/>
                <a:gd name="connsiteX130" fmla="*/ 1742095 w 1857509"/>
                <a:gd name="connsiteY130" fmla="*/ 96590 h 311376"/>
                <a:gd name="connsiteX131" fmla="*/ 1712177 w 1857509"/>
                <a:gd name="connsiteY131" fmla="*/ 96590 h 311376"/>
                <a:gd name="connsiteX132" fmla="*/ 1712177 w 1857509"/>
                <a:gd name="connsiteY132" fmla="*/ 147428 h 311376"/>
                <a:gd name="connsiteX133" fmla="*/ 1742095 w 1857509"/>
                <a:gd name="connsiteY133" fmla="*/ 147428 h 311376"/>
                <a:gd name="connsiteX134" fmla="*/ 1742095 w 1857509"/>
                <a:gd name="connsiteY134" fmla="*/ 237236 h 311376"/>
                <a:gd name="connsiteX135" fmla="*/ 1813913 w 1857509"/>
                <a:gd name="connsiteY135" fmla="*/ 310950 h 311376"/>
                <a:gd name="connsiteX136" fmla="*/ 1857509 w 1857509"/>
                <a:gd name="connsiteY136" fmla="*/ 302482 h 311376"/>
                <a:gd name="connsiteX137" fmla="*/ 1857509 w 1857509"/>
                <a:gd name="connsiteY137" fmla="*/ 249095 h 311376"/>
                <a:gd name="connsiteX138" fmla="*/ 1834439 w 1857509"/>
                <a:gd name="connsiteY138" fmla="*/ 255451 h 311376"/>
                <a:gd name="connsiteX139" fmla="*/ 1804083 w 1857509"/>
                <a:gd name="connsiteY139" fmla="*/ 224107 h 311376"/>
                <a:gd name="connsiteX140" fmla="*/ 1804083 w 1857509"/>
                <a:gd name="connsiteY140" fmla="*/ 147428 h 311376"/>
                <a:gd name="connsiteX141" fmla="*/ 1857509 w 1857509"/>
                <a:gd name="connsiteY141" fmla="*/ 147428 h 311376"/>
                <a:gd name="connsiteX142" fmla="*/ 1857509 w 1857509"/>
                <a:gd name="connsiteY142" fmla="*/ 96590 h 311376"/>
                <a:gd name="connsiteX143" fmla="*/ 1804083 w 1857509"/>
                <a:gd name="connsiteY143" fmla="*/ 96590 h 31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857509" h="311376">
                  <a:moveTo>
                    <a:pt x="810565" y="305863"/>
                  </a:moveTo>
                  <a:lnTo>
                    <a:pt x="872975" y="305863"/>
                  </a:lnTo>
                  <a:lnTo>
                    <a:pt x="872975" y="96590"/>
                  </a:lnTo>
                  <a:lnTo>
                    <a:pt x="810565" y="96590"/>
                  </a:lnTo>
                  <a:lnTo>
                    <a:pt x="810565" y="305863"/>
                  </a:lnTo>
                  <a:close/>
                  <a:moveTo>
                    <a:pt x="841770" y="72019"/>
                  </a:moveTo>
                  <a:cubicBezTo>
                    <a:pt x="821677" y="72019"/>
                    <a:pt x="805437" y="55499"/>
                    <a:pt x="805437" y="36005"/>
                  </a:cubicBezTo>
                  <a:cubicBezTo>
                    <a:pt x="805437" y="16520"/>
                    <a:pt x="821677" y="0"/>
                    <a:pt x="841770" y="0"/>
                  </a:cubicBezTo>
                  <a:cubicBezTo>
                    <a:pt x="861859" y="0"/>
                    <a:pt x="878102" y="16520"/>
                    <a:pt x="878102" y="36005"/>
                  </a:cubicBezTo>
                  <a:cubicBezTo>
                    <a:pt x="878102" y="55499"/>
                    <a:pt x="861859" y="72019"/>
                    <a:pt x="841770" y="72019"/>
                  </a:cubicBezTo>
                  <a:close/>
                  <a:moveTo>
                    <a:pt x="103016" y="144463"/>
                  </a:moveTo>
                  <a:lnTo>
                    <a:pt x="64121" y="144463"/>
                  </a:lnTo>
                  <a:lnTo>
                    <a:pt x="64121" y="66515"/>
                  </a:lnTo>
                  <a:lnTo>
                    <a:pt x="103016" y="66515"/>
                  </a:lnTo>
                  <a:cubicBezTo>
                    <a:pt x="128666" y="66515"/>
                    <a:pt x="147049" y="80923"/>
                    <a:pt x="147049" y="105484"/>
                  </a:cubicBezTo>
                  <a:cubicBezTo>
                    <a:pt x="147049" y="130056"/>
                    <a:pt x="128666" y="144463"/>
                    <a:pt x="103016" y="144463"/>
                  </a:cubicBezTo>
                  <a:close/>
                  <a:moveTo>
                    <a:pt x="211595" y="105058"/>
                  </a:moveTo>
                  <a:cubicBezTo>
                    <a:pt x="211595" y="44056"/>
                    <a:pt x="166714" y="9321"/>
                    <a:pt x="101740" y="9321"/>
                  </a:cubicBezTo>
                  <a:lnTo>
                    <a:pt x="0" y="9321"/>
                  </a:lnTo>
                  <a:lnTo>
                    <a:pt x="0" y="305863"/>
                  </a:lnTo>
                  <a:lnTo>
                    <a:pt x="64121" y="305863"/>
                  </a:lnTo>
                  <a:lnTo>
                    <a:pt x="64121" y="200805"/>
                  </a:lnTo>
                  <a:lnTo>
                    <a:pt x="101740" y="200805"/>
                  </a:lnTo>
                  <a:cubicBezTo>
                    <a:pt x="166714" y="200805"/>
                    <a:pt x="211595" y="165644"/>
                    <a:pt x="211595" y="105058"/>
                  </a:cubicBezTo>
                  <a:close/>
                  <a:moveTo>
                    <a:pt x="327867" y="139377"/>
                  </a:moveTo>
                  <a:cubicBezTo>
                    <a:pt x="353088" y="139377"/>
                    <a:pt x="372324" y="155480"/>
                    <a:pt x="374887" y="177929"/>
                  </a:cubicBezTo>
                  <a:lnTo>
                    <a:pt x="280419" y="177929"/>
                  </a:lnTo>
                  <a:cubicBezTo>
                    <a:pt x="282982" y="158018"/>
                    <a:pt x="303076" y="139377"/>
                    <a:pt x="327867" y="139377"/>
                  </a:cubicBezTo>
                  <a:close/>
                  <a:moveTo>
                    <a:pt x="330860" y="311376"/>
                  </a:moveTo>
                  <a:cubicBezTo>
                    <a:pt x="377027" y="311376"/>
                    <a:pt x="411224" y="290186"/>
                    <a:pt x="428749" y="255877"/>
                  </a:cubicBezTo>
                  <a:lnTo>
                    <a:pt x="376169" y="235114"/>
                  </a:lnTo>
                  <a:cubicBezTo>
                    <a:pt x="366339" y="250791"/>
                    <a:pt x="353941" y="260538"/>
                    <a:pt x="330860" y="260538"/>
                  </a:cubicBezTo>
                  <a:cubicBezTo>
                    <a:pt x="304782" y="260538"/>
                    <a:pt x="282129" y="242739"/>
                    <a:pt x="279990" y="218168"/>
                  </a:cubicBezTo>
                  <a:lnTo>
                    <a:pt x="435158" y="218168"/>
                  </a:lnTo>
                  <a:cubicBezTo>
                    <a:pt x="435587" y="215629"/>
                    <a:pt x="436016" y="210126"/>
                    <a:pt x="436016" y="202927"/>
                  </a:cubicBezTo>
                  <a:cubicBezTo>
                    <a:pt x="436016" y="137264"/>
                    <a:pt x="391989" y="91077"/>
                    <a:pt x="328296" y="91077"/>
                  </a:cubicBezTo>
                  <a:cubicBezTo>
                    <a:pt x="265886" y="91077"/>
                    <a:pt x="218866" y="138107"/>
                    <a:pt x="218866" y="201231"/>
                  </a:cubicBezTo>
                  <a:cubicBezTo>
                    <a:pt x="218866" y="266041"/>
                    <a:pt x="265028" y="311376"/>
                    <a:pt x="330860" y="311376"/>
                  </a:cubicBezTo>
                  <a:close/>
                  <a:moveTo>
                    <a:pt x="599267" y="156749"/>
                  </a:moveTo>
                  <a:cubicBezTo>
                    <a:pt x="595846" y="155053"/>
                    <a:pt x="589861" y="154210"/>
                    <a:pt x="583447" y="154210"/>
                  </a:cubicBezTo>
                  <a:cubicBezTo>
                    <a:pt x="548825" y="154210"/>
                    <a:pt x="528309" y="179625"/>
                    <a:pt x="528309" y="220716"/>
                  </a:cubicBezTo>
                  <a:lnTo>
                    <a:pt x="528309" y="305863"/>
                  </a:lnTo>
                  <a:lnTo>
                    <a:pt x="466326" y="305863"/>
                  </a:lnTo>
                  <a:lnTo>
                    <a:pt x="466326" y="96590"/>
                  </a:lnTo>
                  <a:lnTo>
                    <a:pt x="527879" y="96590"/>
                  </a:lnTo>
                  <a:lnTo>
                    <a:pt x="527879" y="130908"/>
                  </a:lnTo>
                  <a:cubicBezTo>
                    <a:pt x="538996" y="106754"/>
                    <a:pt x="561219" y="91929"/>
                    <a:pt x="588579" y="91929"/>
                  </a:cubicBezTo>
                  <a:cubicBezTo>
                    <a:pt x="593282" y="91929"/>
                    <a:pt x="597985" y="92773"/>
                    <a:pt x="599267" y="93199"/>
                  </a:cubicBezTo>
                  <a:lnTo>
                    <a:pt x="599267" y="156749"/>
                  </a:lnTo>
                  <a:close/>
                  <a:moveTo>
                    <a:pt x="693952" y="171147"/>
                  </a:moveTo>
                  <a:cubicBezTo>
                    <a:pt x="682412" y="168182"/>
                    <a:pt x="676427" y="162679"/>
                    <a:pt x="676427" y="155053"/>
                  </a:cubicBezTo>
                  <a:cubicBezTo>
                    <a:pt x="676427" y="146576"/>
                    <a:pt x="684546" y="140646"/>
                    <a:pt x="696087" y="140646"/>
                  </a:cubicBezTo>
                  <a:cubicBezTo>
                    <a:pt x="708909" y="140646"/>
                    <a:pt x="723018" y="150810"/>
                    <a:pt x="729432" y="166487"/>
                  </a:cubicBezTo>
                  <a:lnTo>
                    <a:pt x="780296" y="139803"/>
                  </a:lnTo>
                  <a:cubicBezTo>
                    <a:pt x="767046" y="110562"/>
                    <a:pt x="732853" y="91086"/>
                    <a:pt x="696516" y="91086"/>
                  </a:cubicBezTo>
                  <a:cubicBezTo>
                    <a:pt x="648214" y="91086"/>
                    <a:pt x="614869" y="119039"/>
                    <a:pt x="614869" y="158861"/>
                  </a:cubicBezTo>
                  <a:cubicBezTo>
                    <a:pt x="614869" y="191910"/>
                    <a:pt x="635392" y="213934"/>
                    <a:pt x="675145" y="223254"/>
                  </a:cubicBezTo>
                  <a:lnTo>
                    <a:pt x="699937" y="229184"/>
                  </a:lnTo>
                  <a:cubicBezTo>
                    <a:pt x="712759" y="232149"/>
                    <a:pt x="719173" y="237662"/>
                    <a:pt x="719173" y="244861"/>
                  </a:cubicBezTo>
                  <a:cubicBezTo>
                    <a:pt x="719173" y="255025"/>
                    <a:pt x="710196" y="260955"/>
                    <a:pt x="696945" y="260955"/>
                  </a:cubicBezTo>
                  <a:cubicBezTo>
                    <a:pt x="681130" y="260955"/>
                    <a:pt x="665310" y="249948"/>
                    <a:pt x="657615" y="232575"/>
                  </a:cubicBezTo>
                  <a:lnTo>
                    <a:pt x="607174" y="260112"/>
                  </a:lnTo>
                  <a:cubicBezTo>
                    <a:pt x="621283" y="292308"/>
                    <a:pt x="654622" y="311376"/>
                    <a:pt x="696516" y="311376"/>
                  </a:cubicBezTo>
                  <a:cubicBezTo>
                    <a:pt x="745675" y="311376"/>
                    <a:pt x="781578" y="281718"/>
                    <a:pt x="781578" y="239784"/>
                  </a:cubicBezTo>
                  <a:cubicBezTo>
                    <a:pt x="781578" y="210126"/>
                    <a:pt x="760208" y="188093"/>
                    <a:pt x="720454" y="177929"/>
                  </a:cubicBezTo>
                  <a:lnTo>
                    <a:pt x="693952" y="171147"/>
                  </a:lnTo>
                  <a:close/>
                  <a:moveTo>
                    <a:pt x="984924" y="171147"/>
                  </a:moveTo>
                  <a:cubicBezTo>
                    <a:pt x="973379" y="168182"/>
                    <a:pt x="967398" y="162679"/>
                    <a:pt x="967398" y="155053"/>
                  </a:cubicBezTo>
                  <a:cubicBezTo>
                    <a:pt x="967398" y="146576"/>
                    <a:pt x="975513" y="140646"/>
                    <a:pt x="987057" y="140646"/>
                  </a:cubicBezTo>
                  <a:cubicBezTo>
                    <a:pt x="999887" y="140646"/>
                    <a:pt x="1013994" y="150810"/>
                    <a:pt x="1020404" y="166487"/>
                  </a:cubicBezTo>
                  <a:lnTo>
                    <a:pt x="1071268" y="139803"/>
                  </a:lnTo>
                  <a:cubicBezTo>
                    <a:pt x="1058019" y="110562"/>
                    <a:pt x="1023824" y="91086"/>
                    <a:pt x="987486" y="91086"/>
                  </a:cubicBezTo>
                  <a:cubicBezTo>
                    <a:pt x="939185" y="91086"/>
                    <a:pt x="905840" y="119039"/>
                    <a:pt x="905840" y="158861"/>
                  </a:cubicBezTo>
                  <a:cubicBezTo>
                    <a:pt x="905840" y="191910"/>
                    <a:pt x="926362" y="213934"/>
                    <a:pt x="966112" y="223254"/>
                  </a:cubicBezTo>
                  <a:lnTo>
                    <a:pt x="990905" y="229184"/>
                  </a:lnTo>
                  <a:cubicBezTo>
                    <a:pt x="1003726" y="232149"/>
                    <a:pt x="1010146" y="237662"/>
                    <a:pt x="1010146" y="244861"/>
                  </a:cubicBezTo>
                  <a:cubicBezTo>
                    <a:pt x="1010146" y="255025"/>
                    <a:pt x="1001164" y="260955"/>
                    <a:pt x="987915" y="260955"/>
                  </a:cubicBezTo>
                  <a:cubicBezTo>
                    <a:pt x="972103" y="260955"/>
                    <a:pt x="956282" y="249948"/>
                    <a:pt x="948591" y="232575"/>
                  </a:cubicBezTo>
                  <a:lnTo>
                    <a:pt x="898149" y="260112"/>
                  </a:lnTo>
                  <a:cubicBezTo>
                    <a:pt x="912254" y="292308"/>
                    <a:pt x="945598" y="311376"/>
                    <a:pt x="987486" y="311376"/>
                  </a:cubicBezTo>
                  <a:cubicBezTo>
                    <a:pt x="1036644" y="311376"/>
                    <a:pt x="1072554" y="281718"/>
                    <a:pt x="1072554" y="239784"/>
                  </a:cubicBezTo>
                  <a:cubicBezTo>
                    <a:pt x="1072554" y="210126"/>
                    <a:pt x="1051180" y="188093"/>
                    <a:pt x="1011422" y="177929"/>
                  </a:cubicBezTo>
                  <a:lnTo>
                    <a:pt x="984924" y="171147"/>
                  </a:lnTo>
                  <a:close/>
                  <a:moveTo>
                    <a:pt x="1176300" y="35162"/>
                  </a:moveTo>
                  <a:lnTo>
                    <a:pt x="1176300" y="96590"/>
                  </a:lnTo>
                  <a:lnTo>
                    <a:pt x="1229735" y="96590"/>
                  </a:lnTo>
                  <a:lnTo>
                    <a:pt x="1229735" y="147428"/>
                  </a:lnTo>
                  <a:lnTo>
                    <a:pt x="1176300" y="147428"/>
                  </a:lnTo>
                  <a:lnTo>
                    <a:pt x="1176300" y="224107"/>
                  </a:lnTo>
                  <a:cubicBezTo>
                    <a:pt x="1176300" y="246557"/>
                    <a:pt x="1186139" y="255451"/>
                    <a:pt x="1206656" y="255451"/>
                  </a:cubicBezTo>
                  <a:cubicBezTo>
                    <a:pt x="1214352" y="255451"/>
                    <a:pt x="1222896" y="253339"/>
                    <a:pt x="1229735" y="249095"/>
                  </a:cubicBezTo>
                  <a:lnTo>
                    <a:pt x="1229735" y="302482"/>
                  </a:lnTo>
                  <a:cubicBezTo>
                    <a:pt x="1220334" y="307132"/>
                    <a:pt x="1206228" y="310950"/>
                    <a:pt x="1186139" y="310950"/>
                  </a:cubicBezTo>
                  <a:cubicBezTo>
                    <a:pt x="1141677" y="310950"/>
                    <a:pt x="1114321" y="283840"/>
                    <a:pt x="1114321" y="237236"/>
                  </a:cubicBezTo>
                  <a:lnTo>
                    <a:pt x="1114321" y="147428"/>
                  </a:lnTo>
                  <a:lnTo>
                    <a:pt x="1084393" y="147428"/>
                  </a:lnTo>
                  <a:lnTo>
                    <a:pt x="1084393" y="96590"/>
                  </a:lnTo>
                  <a:lnTo>
                    <a:pt x="1114321" y="96590"/>
                  </a:lnTo>
                  <a:lnTo>
                    <a:pt x="1114321" y="35162"/>
                  </a:lnTo>
                  <a:lnTo>
                    <a:pt x="1176300" y="35162"/>
                  </a:lnTo>
                  <a:close/>
                  <a:moveTo>
                    <a:pt x="1352551" y="139377"/>
                  </a:moveTo>
                  <a:cubicBezTo>
                    <a:pt x="1377763" y="139377"/>
                    <a:pt x="1397004" y="155480"/>
                    <a:pt x="1399566" y="177929"/>
                  </a:cubicBezTo>
                  <a:lnTo>
                    <a:pt x="1305097" y="177929"/>
                  </a:lnTo>
                  <a:cubicBezTo>
                    <a:pt x="1307659" y="158018"/>
                    <a:pt x="1327757" y="139377"/>
                    <a:pt x="1352551" y="139377"/>
                  </a:cubicBezTo>
                  <a:close/>
                  <a:moveTo>
                    <a:pt x="1355541" y="311376"/>
                  </a:moveTo>
                  <a:cubicBezTo>
                    <a:pt x="1401709" y="311376"/>
                    <a:pt x="1435904" y="290186"/>
                    <a:pt x="1453430" y="255877"/>
                  </a:cubicBezTo>
                  <a:lnTo>
                    <a:pt x="1400852" y="235114"/>
                  </a:lnTo>
                  <a:cubicBezTo>
                    <a:pt x="1391022" y="250791"/>
                    <a:pt x="1378621" y="260538"/>
                    <a:pt x="1355541" y="260538"/>
                  </a:cubicBezTo>
                  <a:cubicBezTo>
                    <a:pt x="1329462" y="260538"/>
                    <a:pt x="1306812" y="242739"/>
                    <a:pt x="1304669" y="218168"/>
                  </a:cubicBezTo>
                  <a:lnTo>
                    <a:pt x="1459840" y="218168"/>
                  </a:lnTo>
                  <a:cubicBezTo>
                    <a:pt x="1460269" y="215629"/>
                    <a:pt x="1460688" y="210126"/>
                    <a:pt x="1460688" y="202927"/>
                  </a:cubicBezTo>
                  <a:cubicBezTo>
                    <a:pt x="1460688" y="137264"/>
                    <a:pt x="1416663" y="91077"/>
                    <a:pt x="1352979" y="91077"/>
                  </a:cubicBezTo>
                  <a:cubicBezTo>
                    <a:pt x="1290562" y="91077"/>
                    <a:pt x="1243547" y="138107"/>
                    <a:pt x="1243547" y="201231"/>
                  </a:cubicBezTo>
                  <a:cubicBezTo>
                    <a:pt x="1243547" y="266041"/>
                    <a:pt x="1289705" y="311376"/>
                    <a:pt x="1355541" y="311376"/>
                  </a:cubicBezTo>
                  <a:close/>
                  <a:moveTo>
                    <a:pt x="1553414" y="305863"/>
                  </a:moveTo>
                  <a:lnTo>
                    <a:pt x="1491006" y="305863"/>
                  </a:lnTo>
                  <a:lnTo>
                    <a:pt x="1491006" y="96590"/>
                  </a:lnTo>
                  <a:lnTo>
                    <a:pt x="1553414" y="96590"/>
                  </a:lnTo>
                  <a:lnTo>
                    <a:pt x="1553414" y="123283"/>
                  </a:lnTo>
                  <a:cubicBezTo>
                    <a:pt x="1566244" y="102946"/>
                    <a:pt x="1587609" y="91086"/>
                    <a:pt x="1615822" y="91086"/>
                  </a:cubicBezTo>
                  <a:cubicBezTo>
                    <a:pt x="1664123" y="91086"/>
                    <a:pt x="1693631" y="123700"/>
                    <a:pt x="1693631" y="176660"/>
                  </a:cubicBezTo>
                  <a:lnTo>
                    <a:pt x="1693631" y="305863"/>
                  </a:lnTo>
                  <a:lnTo>
                    <a:pt x="1631214" y="305863"/>
                  </a:lnTo>
                  <a:lnTo>
                    <a:pt x="1631214" y="191058"/>
                  </a:lnTo>
                  <a:cubicBezTo>
                    <a:pt x="1631214" y="163531"/>
                    <a:pt x="1617536" y="147845"/>
                    <a:pt x="1593171" y="147845"/>
                  </a:cubicBezTo>
                  <a:cubicBezTo>
                    <a:pt x="1569235" y="147845"/>
                    <a:pt x="1553414" y="165644"/>
                    <a:pt x="1553414" y="194875"/>
                  </a:cubicBezTo>
                  <a:lnTo>
                    <a:pt x="1553414" y="305863"/>
                  </a:lnTo>
                  <a:close/>
                  <a:moveTo>
                    <a:pt x="1804083" y="96590"/>
                  </a:moveTo>
                  <a:lnTo>
                    <a:pt x="1804083" y="35162"/>
                  </a:lnTo>
                  <a:lnTo>
                    <a:pt x="1742095" y="35162"/>
                  </a:lnTo>
                  <a:lnTo>
                    <a:pt x="1742095" y="96590"/>
                  </a:lnTo>
                  <a:lnTo>
                    <a:pt x="1712177" y="96590"/>
                  </a:lnTo>
                  <a:lnTo>
                    <a:pt x="1712177" y="147428"/>
                  </a:lnTo>
                  <a:lnTo>
                    <a:pt x="1742095" y="147428"/>
                  </a:lnTo>
                  <a:lnTo>
                    <a:pt x="1742095" y="237236"/>
                  </a:lnTo>
                  <a:cubicBezTo>
                    <a:pt x="1742095" y="283840"/>
                    <a:pt x="1769460" y="310950"/>
                    <a:pt x="1813913" y="310950"/>
                  </a:cubicBezTo>
                  <a:cubicBezTo>
                    <a:pt x="1834001" y="310950"/>
                    <a:pt x="1848108" y="307132"/>
                    <a:pt x="1857509" y="302482"/>
                  </a:cubicBezTo>
                  <a:lnTo>
                    <a:pt x="1857509" y="249095"/>
                  </a:lnTo>
                  <a:cubicBezTo>
                    <a:pt x="1850670" y="253339"/>
                    <a:pt x="1842126" y="255451"/>
                    <a:pt x="1834439" y="255451"/>
                  </a:cubicBezTo>
                  <a:cubicBezTo>
                    <a:pt x="1813913" y="255451"/>
                    <a:pt x="1804083" y="246557"/>
                    <a:pt x="1804083" y="224107"/>
                  </a:cubicBezTo>
                  <a:lnTo>
                    <a:pt x="1804083" y="147428"/>
                  </a:lnTo>
                  <a:lnTo>
                    <a:pt x="1857509" y="147428"/>
                  </a:lnTo>
                  <a:lnTo>
                    <a:pt x="1857509" y="96590"/>
                  </a:lnTo>
                  <a:lnTo>
                    <a:pt x="1804083" y="96590"/>
                  </a:lnTo>
                  <a:close/>
                </a:path>
              </a:pathLst>
            </a:custGeom>
            <a:solidFill>
              <a:schemeClr val="bg2"/>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932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with Photo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2" y="0"/>
            <a:ext cx="6096002" cy="6858000"/>
          </a:xfrm>
          <a:noFill/>
        </p:spPr>
        <p:txBody>
          <a:bodyPr/>
          <a:lstStyle/>
          <a:p>
            <a:r>
              <a:rPr lang="en-US" dirty="0"/>
              <a:t>Click icon to add picture</a:t>
            </a: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6084000" y="0"/>
            <a:ext cx="6109200" cy="5421600"/>
          </a:xfrm>
          <a:solidFill>
            <a:schemeClr val="bg2"/>
          </a:solidFill>
        </p:spPr>
        <p:txBody>
          <a:bodyPr lIns="1440000" tIns="180000" rIns="360000" bIns="180000" anchor="b" anchorCtr="0"/>
          <a:lstStyle>
            <a:lvl1pPr marL="0" marR="0" indent="0" algn="l" defTabSz="914400" rtl="0" eaLnBrk="1" fontAlgn="auto" latinLnBrk="0" hangingPunct="1">
              <a:lnSpc>
                <a:spcPct val="100000"/>
              </a:lnSpc>
              <a:spcBef>
                <a:spcPct val="0"/>
              </a:spcBef>
              <a:spcAft>
                <a:spcPts val="0"/>
              </a:spcAft>
              <a:buClrTx/>
              <a:buSzTx/>
              <a:buFontTx/>
              <a:buNone/>
              <a:tabLst/>
              <a:defRPr sz="3600" b="1" i="0" spc="-150">
                <a:solidFill>
                  <a:schemeClr val="tx1"/>
                </a:solidFill>
                <a:latin typeface="Arial Black" panose="020B0604020202020204" pitchFamily="34" charset="0"/>
                <a:cs typeface="Arial Black" panose="020B0604020202020204" pitchFamily="34" charset="0"/>
              </a:defRPr>
            </a:lvl1pPr>
          </a:lstStyle>
          <a:p>
            <a:r>
              <a:rPr lang="en-US" dirty="0"/>
              <a:t>Section Title</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6084000" y="5418000"/>
            <a:ext cx="6109200" cy="1443600"/>
          </a:xfrm>
          <a:prstGeom prst="rect">
            <a:avLst/>
          </a:prstGeom>
          <a:solidFill>
            <a:schemeClr val="bg1"/>
          </a:solidFill>
        </p:spPr>
        <p:txBody>
          <a:bodyPr lIns="1440000" tIns="180000" rIns="720000" bIns="18000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Tree>
    <p:extLst>
      <p:ext uri="{BB962C8B-B14F-4D97-AF65-F5344CB8AC3E}">
        <p14:creationId xmlns:p14="http://schemas.microsoft.com/office/powerpoint/2010/main" val="3254079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with Photo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2E7D6DA-6C41-D649-A196-5BD2EBF0BEF2}"/>
              </a:ext>
            </a:extLst>
          </p:cNvPr>
          <p:cNvSpPr>
            <a:spLocks noGrp="1"/>
          </p:cNvSpPr>
          <p:nvPr>
            <p:ph type="pic" sz="quarter" idx="10"/>
          </p:nvPr>
        </p:nvSpPr>
        <p:spPr>
          <a:xfrm>
            <a:off x="4668000" y="0"/>
            <a:ext cx="7524000" cy="5421600"/>
          </a:xfrm>
          <a:noFill/>
        </p:spPr>
        <p:txBody>
          <a:bodyPr/>
          <a:lstStyle/>
          <a:p>
            <a:r>
              <a:rPr lang="en-US" dirty="0"/>
              <a:t>Click icon to add picture</a:t>
            </a:r>
            <a:endParaRPr lang="ar-SA"/>
          </a:p>
        </p:txBody>
      </p:sp>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0" y="1458000"/>
            <a:ext cx="6109200" cy="3960000"/>
          </a:xfrm>
          <a:solidFill>
            <a:schemeClr val="bg2"/>
          </a:solidFill>
        </p:spPr>
        <p:txBody>
          <a:bodyPr lIns="1440000" tIns="180000" rIns="360000" bIns="180000" anchor="b" anchorCtr="0"/>
          <a:lstStyle>
            <a:lvl1pPr marL="0" marR="0" indent="0" algn="l" defTabSz="914400" rtl="0" eaLnBrk="1" fontAlgn="auto" latinLnBrk="0" hangingPunct="1">
              <a:lnSpc>
                <a:spcPct val="100000"/>
              </a:lnSpc>
              <a:spcBef>
                <a:spcPct val="0"/>
              </a:spcBef>
              <a:spcAft>
                <a:spcPts val="0"/>
              </a:spcAft>
              <a:buClrTx/>
              <a:buSzTx/>
              <a:buFontTx/>
              <a:buNone/>
              <a:tabLst/>
              <a:defRPr sz="3600" b="1" i="0" spc="-150">
                <a:solidFill>
                  <a:schemeClr val="tx1"/>
                </a:solidFill>
                <a:latin typeface="Arial Black" panose="020B0604020202020204" pitchFamily="34" charset="0"/>
                <a:cs typeface="Arial Black" panose="020B0604020202020204" pitchFamily="34" charset="0"/>
              </a:defRPr>
            </a:lvl1pPr>
          </a:lstStyle>
          <a:p>
            <a:r>
              <a:rPr lang="en-US" dirty="0"/>
              <a:t>Section Title</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0" y="5418000"/>
            <a:ext cx="6109200" cy="1443600"/>
          </a:xfrm>
          <a:prstGeom prst="rect">
            <a:avLst/>
          </a:prstGeom>
          <a:solidFill>
            <a:schemeClr val="bg1"/>
          </a:solidFill>
        </p:spPr>
        <p:txBody>
          <a:bodyPr lIns="1440000" tIns="180000" rIns="720000" bIns="180000" anchor="ctr"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spTree>
    <p:extLst>
      <p:ext uri="{BB962C8B-B14F-4D97-AF65-F5344CB8AC3E}">
        <p14:creationId xmlns:p14="http://schemas.microsoft.com/office/powerpoint/2010/main" val="4089205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Midn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360000"/>
            <a:ext cx="6116400" cy="3146400"/>
          </a:xfrm>
          <a:noFill/>
        </p:spPr>
        <p:txBody>
          <a:bodyPr lIns="0" tIns="0" rIns="0" bIns="0" anchor="b" anchorCtr="0"/>
          <a:lstStyle>
            <a:lvl1pPr algn="l">
              <a:lnSpc>
                <a:spcPct val="100000"/>
              </a:lnSpc>
              <a:defRPr sz="3200" b="1" i="0" spc="-150">
                <a:solidFill>
                  <a:schemeClr val="bg1"/>
                </a:solidFill>
                <a:latin typeface="Arial Black" panose="020B0604020202020204" pitchFamily="34" charset="0"/>
                <a:cs typeface="Arial Black" panose="020B0604020202020204" pitchFamily="34" charset="0"/>
              </a:defRPr>
            </a:lvl1pPr>
          </a:lstStyle>
          <a:p>
            <a:r>
              <a:rPr lang="en-US" spc="-100" dirty="0">
                <a:solidFill>
                  <a:schemeClr val="bg2"/>
                </a:solidFill>
              </a:rPr>
              <a:t>Section title goes here</a:t>
            </a:r>
            <a:endParaRPr lang="en-US" dirty="0"/>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870000"/>
            <a:ext cx="6116400" cy="2358000"/>
          </a:xfrm>
          <a:prstGeom prst="rect">
            <a:avLst/>
          </a:prstGeom>
          <a:noFill/>
        </p:spPr>
        <p:txBody>
          <a:bodyPr lIns="0" tIns="0" rIns="0" bIns="0" anchor="t" anchorCtr="0">
            <a:normAutofit/>
          </a:bodyPr>
          <a:lstStyle>
            <a:lvl1pPr marL="0" marR="0" indent="0" algn="l" defTabSz="914400" rtl="0" eaLnBrk="1" fontAlgn="auto" latinLnBrk="0" hangingPunct="1">
              <a:lnSpc>
                <a:spcPct val="120000"/>
              </a:lnSpc>
              <a:spcBef>
                <a:spcPts val="1200"/>
              </a:spcBef>
              <a:spcAft>
                <a:spcPts val="0"/>
              </a:spcAft>
              <a:buClr>
                <a:schemeClr val="accent1"/>
              </a:buClr>
              <a:buSzTx/>
              <a:buFont typeface="Arial" panose="020B0604020202020204" pitchFamily="34" charset="0"/>
              <a:buNone/>
              <a:tabLst/>
              <a:defRPr sz="1800" b="0">
                <a:solidFill>
                  <a:schemeClr val="tx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delete if not needed)</a:t>
            </a:r>
          </a:p>
        </p:txBody>
      </p:sp>
      <p:grpSp>
        <p:nvGrpSpPr>
          <p:cNvPr id="6" name="Group 5">
            <a:extLst>
              <a:ext uri="{FF2B5EF4-FFF2-40B4-BE49-F238E27FC236}">
                <a16:creationId xmlns:a16="http://schemas.microsoft.com/office/drawing/2014/main" id="{CC12876B-5764-9947-B162-9F381573C74F}"/>
              </a:ext>
            </a:extLst>
          </p:cNvPr>
          <p:cNvGrpSpPr/>
          <p:nvPr userDrawn="1"/>
        </p:nvGrpSpPr>
        <p:grpSpPr>
          <a:xfrm>
            <a:off x="1" y="1348450"/>
            <a:ext cx="10843548" cy="5509550"/>
            <a:chOff x="-652041" y="2587001"/>
            <a:chExt cx="10843548" cy="5509550"/>
          </a:xfrm>
        </p:grpSpPr>
        <p:sp>
          <p:nvSpPr>
            <p:cNvPr id="7" name="Teardrop 6">
              <a:extLst>
                <a:ext uri="{FF2B5EF4-FFF2-40B4-BE49-F238E27FC236}">
                  <a16:creationId xmlns:a16="http://schemas.microsoft.com/office/drawing/2014/main" id="{658C4D7E-BD4B-CC48-BCF2-5A2759C0310C}"/>
                </a:ext>
              </a:extLst>
            </p:cNvPr>
            <p:cNvSpPr/>
            <p:nvPr userDrawn="1"/>
          </p:nvSpPr>
          <p:spPr>
            <a:xfrm rot="10800000">
              <a:off x="7919999" y="2587001"/>
              <a:ext cx="2271508" cy="2271508"/>
            </a:xfrm>
            <a:prstGeom prst="teardrop">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FE712902-5C87-0340-BCB4-47BF90BEFB8D}"/>
                </a:ext>
              </a:extLst>
            </p:cNvPr>
            <p:cNvCxnSpPr>
              <a:cxnSpLocks/>
              <a:stCxn id="7" idx="7"/>
            </p:cNvCxnSpPr>
            <p:nvPr userDrawn="1"/>
          </p:nvCxnSpPr>
          <p:spPr>
            <a:xfrm flipH="1">
              <a:off x="-652041" y="4858509"/>
              <a:ext cx="8572040" cy="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1C3349-6BB1-9C4B-BDE5-5DCB39D444BD}"/>
                </a:ext>
              </a:extLst>
            </p:cNvPr>
            <p:cNvCxnSpPr>
              <a:cxnSpLocks/>
              <a:stCxn id="7" idx="7"/>
            </p:cNvCxnSpPr>
            <p:nvPr userDrawn="1"/>
          </p:nvCxnSpPr>
          <p:spPr>
            <a:xfrm>
              <a:off x="7919999" y="4858509"/>
              <a:ext cx="0" cy="3238042"/>
            </a:xfrm>
            <a:prstGeom prst="line">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71041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50" Type="http://schemas.openxmlformats.org/officeDocument/2006/relationships/slideLayout" Target="../slideLayouts/slideLayout89.xml"/><Relationship Id="rId55" Type="http://schemas.openxmlformats.org/officeDocument/2006/relationships/theme" Target="../theme/theme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9" Type="http://schemas.openxmlformats.org/officeDocument/2006/relationships/slideLayout" Target="../slideLayouts/slideLayout68.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53" Type="http://schemas.openxmlformats.org/officeDocument/2006/relationships/slideLayout" Target="../slideLayouts/slideLayout92.xml"/><Relationship Id="rId5" Type="http://schemas.openxmlformats.org/officeDocument/2006/relationships/slideLayout" Target="../slideLayouts/slideLayout44.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56" Type="http://schemas.openxmlformats.org/officeDocument/2006/relationships/image" Target="../media/image5.png"/><Relationship Id="rId8" Type="http://schemas.openxmlformats.org/officeDocument/2006/relationships/slideLayout" Target="../slideLayouts/slideLayout47.xml"/><Relationship Id="rId51" Type="http://schemas.openxmlformats.org/officeDocument/2006/relationships/slideLayout" Target="../slideLayouts/slideLayout90.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54" Type="http://schemas.openxmlformats.org/officeDocument/2006/relationships/slideLayout" Target="../slideLayouts/slideLayout9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 Id="rId57" Type="http://schemas.openxmlformats.org/officeDocument/2006/relationships/image" Target="../media/image6.svg"/><Relationship Id="rId10" Type="http://schemas.openxmlformats.org/officeDocument/2006/relationships/slideLayout" Target="../slideLayouts/slideLayout49.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slideLayout" Target="../slideLayouts/slideLayout9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50" Type="http://schemas.openxmlformats.org/officeDocument/2006/relationships/slideLayout" Target="../slideLayouts/slideLayout143.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53" Type="http://schemas.openxmlformats.org/officeDocument/2006/relationships/image" Target="../media/image6.svg"/><Relationship Id="rId5" Type="http://schemas.openxmlformats.org/officeDocument/2006/relationships/slideLayout" Target="../slideLayouts/slideLayout9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image" Target="../media/image5.png"/><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8" Type="http://schemas.openxmlformats.org/officeDocument/2006/relationships/slideLayout" Target="../slideLayouts/slideLayout101.xml"/><Relationship Id="rId51" Type="http://schemas.openxmlformats.org/officeDocument/2006/relationships/theme" Target="../theme/theme3.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89D706C-A4A1-40B0-B7E8-91FB6FDE7E75}"/>
              </a:ext>
            </a:extLst>
          </p:cNvPr>
          <p:cNvGraphicFramePr>
            <a:graphicFrameLocks noChangeAspect="1"/>
          </p:cNvGraphicFramePr>
          <p:nvPr userDrawn="1">
            <p:custDataLst>
              <p:tags r:id="rId41"/>
            </p:custDataLst>
            <p:extLst>
              <p:ext uri="{D42A27DB-BD31-4B8C-83A1-F6EECF244321}">
                <p14:modId xmlns:p14="http://schemas.microsoft.com/office/powerpoint/2010/main" val="3984208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2" name="Object 1" hidden="1">
                        <a:extLst>
                          <a:ext uri="{FF2B5EF4-FFF2-40B4-BE49-F238E27FC236}">
                            <a16:creationId xmlns:a16="http://schemas.microsoft.com/office/drawing/2014/main" id="{089D706C-A4A1-40B0-B7E8-91FB6FDE7E75}"/>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0" name="Google Shape;10;p29"/>
          <p:cNvSpPr txBox="1">
            <a:spLocks noGrp="1"/>
          </p:cNvSpPr>
          <p:nvPr>
            <p:ph type="title"/>
          </p:nvPr>
        </p:nvSpPr>
        <p:spPr>
          <a:xfrm>
            <a:off x="360000" y="360000"/>
            <a:ext cx="11453940" cy="360000"/>
          </a:xfrm>
          <a:prstGeom prst="rect">
            <a:avLst/>
          </a:prstGeom>
          <a:noFill/>
          <a:ln>
            <a:noFill/>
          </a:ln>
        </p:spPr>
        <p:txBody>
          <a:bodyPr spcFirstLastPara="1" wrap="square" lIns="0" tIns="0" rIns="0" bIns="0" anchor="ctr" anchorCtr="0">
            <a:noAutofit/>
          </a:bodyPr>
          <a:lstStyle>
            <a:lvl1pPr marR="0" lvl="0" algn="l" rtl="0">
              <a:lnSpc>
                <a:spcPct val="90000"/>
              </a:lnSpc>
              <a:spcBef>
                <a:spcPts val="0"/>
              </a:spcBef>
              <a:spcAft>
                <a:spcPts val="0"/>
              </a:spcAft>
              <a:buClr>
                <a:schemeClr val="accent5"/>
              </a:buClr>
              <a:buSzPts val="1600"/>
              <a:buFont typeface="Arial"/>
              <a:buNone/>
              <a:defRPr sz="1600" b="1" i="0" u="none" strike="noStrike" cap="none">
                <a:solidFill>
                  <a:schemeClr val="accent5"/>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29"/>
          <p:cNvSpPr txBox="1">
            <a:spLocks noGrp="1"/>
          </p:cNvSpPr>
          <p:nvPr>
            <p:ph type="body" idx="1"/>
          </p:nvPr>
        </p:nvSpPr>
        <p:spPr>
          <a:xfrm>
            <a:off x="360000" y="1079998"/>
            <a:ext cx="11453941" cy="4977901"/>
          </a:xfrm>
          <a:prstGeom prst="rect">
            <a:avLst/>
          </a:prstGeom>
          <a:noFill/>
          <a:ln>
            <a:noFill/>
          </a:ln>
        </p:spPr>
        <p:txBody>
          <a:bodyPr spcFirstLastPara="1" wrap="square" lIns="0" tIns="0" rIns="0" bIns="0" anchor="t" anchorCtr="0">
            <a:noAutofit/>
          </a:bodyPr>
          <a:lstStyle>
            <a:lvl1pPr marL="457200" marR="0" lvl="0" indent="-330200" algn="l" rtl="0">
              <a:lnSpc>
                <a:spcPct val="120000"/>
              </a:lnSpc>
              <a:spcBef>
                <a:spcPts val="12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20000"/>
              </a:lnSpc>
              <a:spcBef>
                <a:spcPts val="1200"/>
              </a:spcBef>
              <a:spcAft>
                <a:spcPts val="0"/>
              </a:spcAft>
              <a:buClr>
                <a:schemeClr val="accent1"/>
              </a:buClr>
              <a:buSzPts val="1600"/>
              <a:buFont typeface="NTR"/>
              <a:buChar char="-"/>
              <a:defRPr sz="1600" b="0" i="0" u="none" strike="noStrike" cap="none">
                <a:solidFill>
                  <a:schemeClr val="dk1"/>
                </a:solidFill>
                <a:latin typeface="Arial"/>
                <a:ea typeface="Arial"/>
                <a:cs typeface="Arial"/>
                <a:sym typeface="Arial"/>
              </a:defRPr>
            </a:lvl2pPr>
            <a:lvl3pPr marL="1371600" marR="0" lvl="2" indent="-330200"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20000"/>
              </a:lnSpc>
              <a:spcBef>
                <a:spcPts val="5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 name="Google Shape;12;p29"/>
          <p:cNvSpPr/>
          <p:nvPr/>
        </p:nvSpPr>
        <p:spPr>
          <a:xfrm>
            <a:off x="360000" y="6348408"/>
            <a:ext cx="1819409" cy="123111"/>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800" b="0" i="0" u="none" strike="noStrike" cap="none" dirty="0">
                <a:solidFill>
                  <a:schemeClr val="accent5"/>
                </a:solidFill>
                <a:latin typeface="Arial"/>
                <a:ea typeface="Arial"/>
                <a:cs typeface="Arial"/>
                <a:sym typeface="Arial"/>
              </a:rPr>
              <a:t>Confidential © 2021 Persistent Systems</a:t>
            </a:r>
            <a:endParaRPr dirty="0"/>
          </a:p>
        </p:txBody>
      </p:sp>
      <p:sp>
        <p:nvSpPr>
          <p:cNvPr id="13" name="Google Shape;13;p29"/>
          <p:cNvSpPr txBox="1">
            <a:spLocks noGrp="1"/>
          </p:cNvSpPr>
          <p:nvPr>
            <p:ph type="sldNum" idx="12"/>
          </p:nvPr>
        </p:nvSpPr>
        <p:spPr>
          <a:xfrm>
            <a:off x="4724400" y="6227400"/>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spcBef>
                <a:spcPts val="0"/>
              </a:spcBef>
              <a:buNone/>
              <a:defRPr sz="800" b="0" i="0" u="none" strike="noStrike" cap="none">
                <a:solidFill>
                  <a:schemeClr val="accent5"/>
                </a:solidFill>
                <a:latin typeface="Arial"/>
                <a:ea typeface="Arial"/>
                <a:cs typeface="Arial"/>
                <a:sym typeface="Arial"/>
              </a:defRPr>
            </a:lvl1pPr>
            <a:lvl2pPr marL="0" marR="0" lvl="1" indent="0" algn="ctr" rtl="0">
              <a:spcBef>
                <a:spcPts val="0"/>
              </a:spcBef>
              <a:buNone/>
              <a:defRPr sz="800" b="0" i="0" u="none" strike="noStrike" cap="none">
                <a:solidFill>
                  <a:schemeClr val="accent5"/>
                </a:solidFill>
                <a:latin typeface="Arial"/>
                <a:ea typeface="Arial"/>
                <a:cs typeface="Arial"/>
                <a:sym typeface="Arial"/>
              </a:defRPr>
            </a:lvl2pPr>
            <a:lvl3pPr marL="0" marR="0" lvl="2" indent="0" algn="ctr" rtl="0">
              <a:spcBef>
                <a:spcPts val="0"/>
              </a:spcBef>
              <a:buNone/>
              <a:defRPr sz="800" b="0" i="0" u="none" strike="noStrike" cap="none">
                <a:solidFill>
                  <a:schemeClr val="accent5"/>
                </a:solidFill>
                <a:latin typeface="Arial"/>
                <a:ea typeface="Arial"/>
                <a:cs typeface="Arial"/>
                <a:sym typeface="Arial"/>
              </a:defRPr>
            </a:lvl3pPr>
            <a:lvl4pPr marL="0" marR="0" lvl="3" indent="0" algn="ctr" rtl="0">
              <a:spcBef>
                <a:spcPts val="0"/>
              </a:spcBef>
              <a:buNone/>
              <a:defRPr sz="800" b="0" i="0" u="none" strike="noStrike" cap="none">
                <a:solidFill>
                  <a:schemeClr val="accent5"/>
                </a:solidFill>
                <a:latin typeface="Arial"/>
                <a:ea typeface="Arial"/>
                <a:cs typeface="Arial"/>
                <a:sym typeface="Arial"/>
              </a:defRPr>
            </a:lvl4pPr>
            <a:lvl5pPr marL="0" marR="0" lvl="4" indent="0" algn="ctr" rtl="0">
              <a:spcBef>
                <a:spcPts val="0"/>
              </a:spcBef>
              <a:buNone/>
              <a:defRPr sz="800" b="0" i="0" u="none" strike="noStrike" cap="none">
                <a:solidFill>
                  <a:schemeClr val="accent5"/>
                </a:solidFill>
                <a:latin typeface="Arial"/>
                <a:ea typeface="Arial"/>
                <a:cs typeface="Arial"/>
                <a:sym typeface="Arial"/>
              </a:defRPr>
            </a:lvl5pPr>
            <a:lvl6pPr marL="0" marR="0" lvl="5" indent="0" algn="ctr" rtl="0">
              <a:spcBef>
                <a:spcPts val="0"/>
              </a:spcBef>
              <a:buNone/>
              <a:defRPr sz="800" b="0" i="0" u="none" strike="noStrike" cap="none">
                <a:solidFill>
                  <a:schemeClr val="accent5"/>
                </a:solidFill>
                <a:latin typeface="Arial"/>
                <a:ea typeface="Arial"/>
                <a:cs typeface="Arial"/>
                <a:sym typeface="Arial"/>
              </a:defRPr>
            </a:lvl6pPr>
            <a:lvl7pPr marL="0" marR="0" lvl="6" indent="0" algn="ctr" rtl="0">
              <a:spcBef>
                <a:spcPts val="0"/>
              </a:spcBef>
              <a:buNone/>
              <a:defRPr sz="800" b="0" i="0" u="none" strike="noStrike" cap="none">
                <a:solidFill>
                  <a:schemeClr val="accent5"/>
                </a:solidFill>
                <a:latin typeface="Arial"/>
                <a:ea typeface="Arial"/>
                <a:cs typeface="Arial"/>
                <a:sym typeface="Arial"/>
              </a:defRPr>
            </a:lvl7pPr>
            <a:lvl8pPr marL="0" marR="0" lvl="7" indent="0" algn="ctr" rtl="0">
              <a:spcBef>
                <a:spcPts val="0"/>
              </a:spcBef>
              <a:buNone/>
              <a:defRPr sz="800" b="0" i="0" u="none" strike="noStrike" cap="none">
                <a:solidFill>
                  <a:schemeClr val="accent5"/>
                </a:solidFill>
                <a:latin typeface="Arial"/>
                <a:ea typeface="Arial"/>
                <a:cs typeface="Arial"/>
                <a:sym typeface="Arial"/>
              </a:defRPr>
            </a:lvl8pPr>
            <a:lvl9pPr marL="0" marR="0" lvl="8" indent="0" algn="ctr" rtl="0">
              <a:spcBef>
                <a:spcPts val="0"/>
              </a:spcBef>
              <a:buNone/>
              <a:defRPr sz="800" b="0" i="0" u="none" strike="noStrike" cap="none">
                <a:solidFill>
                  <a:schemeClr val="accent5"/>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pic>
        <p:nvPicPr>
          <p:cNvPr id="14" name="Google Shape;14;p29"/>
          <p:cNvPicPr preferRelativeResize="0"/>
          <p:nvPr/>
        </p:nvPicPr>
        <p:blipFill rotWithShape="1">
          <a:blip r:embed="rId44">
            <a:alphaModFix/>
          </a:blip>
          <a:srcRect/>
          <a:stretch/>
        </p:blipFill>
        <p:spPr>
          <a:xfrm>
            <a:off x="11432396" y="6229962"/>
            <a:ext cx="391304" cy="360000"/>
          </a:xfrm>
          <a:prstGeom prst="rect">
            <a:avLst/>
          </a:prstGeom>
          <a:noFill/>
          <a:ln>
            <a:noFill/>
          </a:ln>
        </p:spPr>
      </p:pic>
    </p:spTree>
    <p:extLst>
      <p:ext uri="{BB962C8B-B14F-4D97-AF65-F5344CB8AC3E}">
        <p14:creationId xmlns:p14="http://schemas.microsoft.com/office/powerpoint/2010/main" val="3340891586"/>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806"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7446">
          <p15:clr>
            <a:srgbClr val="F26B43"/>
          </p15:clr>
        </p15:guide>
        <p15:guide id="3" pos="222">
          <p15:clr>
            <a:srgbClr val="F26B43"/>
          </p15:clr>
        </p15:guide>
        <p15:guide id="4" orient="horz" pos="676">
          <p15:clr>
            <a:srgbClr val="F26B43"/>
          </p15:clr>
        </p15:guide>
        <p15:guide id="5" pos="3833">
          <p15:clr>
            <a:srgbClr val="F26B43"/>
          </p15:clr>
        </p15:guide>
        <p15:guide id="6" orient="horz" pos="3816">
          <p15:clr>
            <a:srgbClr val="F26B43"/>
          </p15:clr>
        </p15:guide>
        <p15:guide id="7" orient="horz" pos="454">
          <p15:clr>
            <a:srgbClr val="F26B43"/>
          </p15:clr>
        </p15:guide>
        <p15:guide id="8" orient="horz" pos="22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60000" y="360000"/>
            <a:ext cx="11468463" cy="360000"/>
          </a:xfrm>
          <a:prstGeom prst="rect">
            <a:avLst/>
          </a:prstGeom>
        </p:spPr>
        <p:txBody>
          <a:bodyPr vert="horz" lIns="0" tIns="0" rIns="0" bIns="0" rtlCol="0" anchor="ctr">
            <a:noAutofit/>
          </a:bodyPr>
          <a:lstStyle/>
          <a:p>
            <a:r>
              <a:rPr lang="en-US" dirty="0"/>
              <a:t>Click to edit slide title</a:t>
            </a:r>
          </a:p>
        </p:txBody>
      </p:sp>
      <p:sp>
        <p:nvSpPr>
          <p:cNvPr id="4" name="Text Placeholder 3">
            <a:extLst>
              <a:ext uri="{FF2B5EF4-FFF2-40B4-BE49-F238E27FC236}">
                <a16:creationId xmlns:a16="http://schemas.microsoft.com/office/drawing/2014/main" id="{858F6D9C-6E29-45E1-A21D-B29BC12D7EAF}"/>
              </a:ext>
            </a:extLst>
          </p:cNvPr>
          <p:cNvSpPr>
            <a:spLocks noGrp="1"/>
          </p:cNvSpPr>
          <p:nvPr>
            <p:ph type="body" idx="1"/>
          </p:nvPr>
        </p:nvSpPr>
        <p:spPr>
          <a:xfrm>
            <a:off x="360000" y="1087228"/>
            <a:ext cx="11469600" cy="5221497"/>
          </a:xfrm>
          <a:prstGeom prst="rect">
            <a:avLst/>
          </a:prstGeom>
        </p:spPr>
        <p:txBody>
          <a:bodyPr vert="horz" lIns="0" tIns="0" rIns="0" bIns="0" rtlCol="0">
            <a:normAutofit/>
          </a:bodyPr>
          <a:lstStyle/>
          <a:p>
            <a:pPr marL="180000" lvl="0" indent="-180000" algn="l" defTabSz="914400" rtl="0" eaLnBrk="1" latinLnBrk="0" hangingPunct="1">
              <a:lnSpc>
                <a:spcPct val="120000"/>
              </a:lnSpc>
              <a:spcBef>
                <a:spcPts val="1200"/>
              </a:spcBef>
              <a:buClr>
                <a:schemeClr val="accent1"/>
              </a:buClr>
              <a:buFont typeface="Arial" panose="020B0604020202020204" pitchFamily="34" charset="0"/>
              <a:buChar char="\"/>
            </a:pPr>
            <a:r>
              <a:rPr lang="en-US" dirty="0"/>
              <a:t>Click to edit text</a:t>
            </a:r>
          </a:p>
          <a:p>
            <a:pPr lvl="1"/>
            <a:r>
              <a:rPr lang="en-US" dirty="0"/>
              <a:t>Second level</a:t>
            </a:r>
          </a:p>
        </p:txBody>
      </p:sp>
      <p:sp>
        <p:nvSpPr>
          <p:cNvPr id="11" name="Rectangle 10">
            <a:extLst>
              <a:ext uri="{FF2B5EF4-FFF2-40B4-BE49-F238E27FC236}">
                <a16:creationId xmlns:a16="http://schemas.microsoft.com/office/drawing/2014/main" id="{9E4A0DB5-14FA-4071-99C0-82BFAEB24F8C}"/>
              </a:ext>
            </a:extLst>
          </p:cNvPr>
          <p:cNvSpPr/>
          <p:nvPr/>
        </p:nvSpPr>
        <p:spPr>
          <a:xfrm>
            <a:off x="611999" y="6308725"/>
            <a:ext cx="1819409" cy="549275"/>
          </a:xfrm>
          <a:prstGeom prst="rect">
            <a:avLst/>
          </a:prstGeom>
        </p:spPr>
        <p:txBody>
          <a:bodyPr wrap="none" lIns="0" tIns="0" rIns="0" bIns="0" anchor="ctr">
            <a:noAutofit/>
          </a:bodyPr>
          <a:lstStyle/>
          <a:p>
            <a:pPr lvl="0"/>
            <a:r>
              <a:rPr lang="en-US" sz="800" dirty="0">
                <a:solidFill>
                  <a:schemeClr val="tx2">
                    <a:lumMod val="60000"/>
                    <a:lumOff val="40000"/>
                    <a:alpha val="50000"/>
                  </a:schemeClr>
                </a:solidFill>
              </a:rPr>
              <a:t>Confidential © </a:t>
            </a:r>
            <a:fld id="{AB00A70B-9C44-4596-90DE-894BC522FF9F}" type="datetimeyyyy">
              <a:rPr lang="en-US" sz="800" smtClean="0">
                <a:solidFill>
                  <a:schemeClr val="tx2">
                    <a:lumMod val="60000"/>
                    <a:lumOff val="40000"/>
                    <a:alpha val="50000"/>
                  </a:schemeClr>
                </a:solidFill>
              </a:rPr>
              <a:pPr lvl="0"/>
              <a:t>2022</a:t>
            </a:fld>
            <a:r>
              <a:rPr lang="en-US" sz="800" dirty="0">
                <a:solidFill>
                  <a:schemeClr val="tx2">
                    <a:lumMod val="60000"/>
                    <a:lumOff val="40000"/>
                    <a:alpha val="50000"/>
                  </a:schemeClr>
                </a:solidFill>
              </a:rPr>
              <a:t> Persistent Systems</a:t>
            </a:r>
          </a:p>
        </p:txBody>
      </p:sp>
      <p:sp>
        <p:nvSpPr>
          <p:cNvPr id="9" name="Slide Number Placeholder 5">
            <a:extLst>
              <a:ext uri="{FF2B5EF4-FFF2-40B4-BE49-F238E27FC236}">
                <a16:creationId xmlns:a16="http://schemas.microsoft.com/office/drawing/2014/main" id="{CA242A93-311C-4B1E-BF74-6F9F7B4D5998}"/>
              </a:ext>
            </a:extLst>
          </p:cNvPr>
          <p:cNvSpPr>
            <a:spLocks noGrp="1"/>
          </p:cNvSpPr>
          <p:nvPr>
            <p:ph type="sldNum" sz="quarter" idx="4"/>
          </p:nvPr>
        </p:nvSpPr>
        <p:spPr>
          <a:xfrm>
            <a:off x="359999" y="6308725"/>
            <a:ext cx="125034" cy="549275"/>
          </a:xfrm>
          <a:prstGeom prst="rect">
            <a:avLst/>
          </a:prstGeom>
        </p:spPr>
        <p:txBody>
          <a:bodyPr wrap="none" lIns="0" tIns="0" rIns="0" bIns="0" anchor="ctr">
            <a:noAutofit/>
          </a:bodyPr>
          <a:lstStyle>
            <a:lvl1pPr>
              <a:defRPr lang="en-US" sz="800" smtClean="0">
                <a:solidFill>
                  <a:schemeClr val="tx2">
                    <a:lumMod val="60000"/>
                    <a:lumOff val="40000"/>
                    <a:alpha val="50000"/>
                  </a:schemeClr>
                </a:solidFill>
              </a:defRPr>
            </a:lvl1pPr>
          </a:lstStyle>
          <a:p>
            <a:fld id="{9A0F7689-66CB-EC4F-9B5C-9C3D3ED1F24F}" type="slidenum">
              <a:rPr lang="en-US" smtClean="0"/>
              <a:pPr/>
              <a:t>‹#›</a:t>
            </a:fld>
            <a:endParaRPr lang="en-US" dirty="0"/>
          </a:p>
        </p:txBody>
      </p:sp>
      <p:pic>
        <p:nvPicPr>
          <p:cNvPr id="10" name="Graphic 9">
            <a:extLst>
              <a:ext uri="{FF2B5EF4-FFF2-40B4-BE49-F238E27FC236}">
                <a16:creationId xmlns:a16="http://schemas.microsoft.com/office/drawing/2014/main" id="{E10A6CFA-C025-4652-BCA7-550B5032BC97}"/>
              </a:ext>
            </a:extLst>
          </p:cNvPr>
          <p:cNvPicPr>
            <a:picLocks noChangeAspect="1"/>
          </p:cNvPicPr>
          <p:nvPr/>
        </p:nvPicPr>
        <p:blipFill>
          <a:blip r:embed="rId56" cstate="screen">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11026029" y="6498000"/>
            <a:ext cx="803571" cy="180000"/>
          </a:xfrm>
          <a:prstGeom prst="rect">
            <a:avLst/>
          </a:prstGeom>
        </p:spPr>
      </p:pic>
    </p:spTree>
    <p:extLst>
      <p:ext uri="{BB962C8B-B14F-4D97-AF65-F5344CB8AC3E}">
        <p14:creationId xmlns:p14="http://schemas.microsoft.com/office/powerpoint/2010/main" val="160474691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44" r:id="rId45"/>
    <p:sldLayoutId id="2147483745" r:id="rId46"/>
    <p:sldLayoutId id="2147483746" r:id="rId47"/>
    <p:sldLayoutId id="2147483747" r:id="rId48"/>
    <p:sldLayoutId id="2147483748" r:id="rId49"/>
    <p:sldLayoutId id="2147483749" r:id="rId50"/>
    <p:sldLayoutId id="2147483750" r:id="rId51"/>
    <p:sldLayoutId id="2147483751" r:id="rId52"/>
    <p:sldLayoutId id="2147483752" r:id="rId53"/>
    <p:sldLayoutId id="2147483753"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000" b="1" kern="1200" spc="-40" baseline="0">
          <a:solidFill>
            <a:schemeClr val="tx2">
              <a:lumMod val="40000"/>
              <a:lumOff val="60000"/>
            </a:schemeClr>
          </a:solidFill>
          <a:latin typeface="+mj-lt"/>
          <a:ea typeface="+mj-ea"/>
          <a:cs typeface="+mj-cs"/>
        </a:defRPr>
      </a:lvl1pPr>
    </p:titleStyle>
    <p:bodyStyle>
      <a:lvl1pPr marL="180000" indent="-180000" algn="l" defTabSz="914400" rtl="0" eaLnBrk="1" latinLnBrk="0" hangingPunct="1">
        <a:lnSpc>
          <a:spcPct val="120000"/>
        </a:lnSpc>
        <a:spcBef>
          <a:spcPts val="1200"/>
        </a:spcBef>
        <a:buClr>
          <a:schemeClr val="accent1"/>
        </a:buClr>
        <a:buFont typeface="Arial" panose="020B0604020202020204" pitchFamily="34" charset="0"/>
        <a:buChar char="\"/>
        <a:defRPr lang="en-US" sz="1600" kern="1200" baseline="0" dirty="0" smtClean="0">
          <a:solidFill>
            <a:schemeClr val="bg2"/>
          </a:solidFill>
          <a:latin typeface="+mn-lt"/>
          <a:ea typeface="+mn-ea"/>
          <a:cs typeface="+mn-cs"/>
        </a:defRPr>
      </a:lvl1pPr>
      <a:lvl2pPr marL="540000" indent="-180000" algn="l" defTabSz="914400" rtl="0" eaLnBrk="1" latinLnBrk="0" hangingPunct="1">
        <a:lnSpc>
          <a:spcPct val="120000"/>
        </a:lnSpc>
        <a:spcBef>
          <a:spcPts val="500"/>
        </a:spcBef>
        <a:buClr>
          <a:schemeClr val="accent1"/>
        </a:buClr>
        <a:buFont typeface="System Font Regular"/>
        <a:buChar char="-"/>
        <a:defRPr lang="en-US" sz="1600" kern="1200" baseline="0" dirty="0" smtClean="0">
          <a:solidFill>
            <a:schemeClr val="bg2"/>
          </a:solidFill>
          <a:latin typeface="+mn-lt"/>
          <a:ea typeface="+mn-ea"/>
          <a:cs typeface="+mn-cs"/>
        </a:defRPr>
      </a:lvl2pPr>
      <a:lvl3pPr marL="914400" indent="0" algn="l" defTabSz="914400" rtl="0" eaLnBrk="1" latinLnBrk="0" hangingPunct="1">
        <a:lnSpc>
          <a:spcPct val="120000"/>
        </a:lnSpc>
        <a:spcBef>
          <a:spcPts val="500"/>
        </a:spcBef>
        <a:buClr>
          <a:schemeClr val="accent1"/>
        </a:buClr>
        <a:buFont typeface="Arial" panose="020B0604020202020204" pitchFamily="34" charset="0"/>
        <a:buNone/>
        <a:defRPr sz="1600" kern="1200" baseline="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37">
          <p15:clr>
            <a:srgbClr val="F26B43"/>
          </p15:clr>
        </p15:guide>
        <p15:guide id="2" pos="7451">
          <p15:clr>
            <a:srgbClr val="F26B43"/>
          </p15:clr>
        </p15:guide>
        <p15:guide id="3" pos="222">
          <p15:clr>
            <a:srgbClr val="F26B43"/>
          </p15:clr>
        </p15:guide>
        <p15:guide id="4" orient="horz" pos="676">
          <p15:clr>
            <a:srgbClr val="F26B43"/>
          </p15:clr>
        </p15:guide>
        <p15:guide id="5" pos="3833">
          <p15:clr>
            <a:srgbClr val="F26B43"/>
          </p15:clr>
        </p15:guide>
        <p15:guide id="7" orient="horz" pos="3974">
          <p15:clr>
            <a:srgbClr val="F26B43"/>
          </p15:clr>
        </p15:guide>
        <p15:guide id="8" orient="horz" pos="454">
          <p15:clr>
            <a:srgbClr val="F26B43"/>
          </p15:clr>
        </p15:guide>
        <p15:guide id="9" orient="horz" pos="22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60000" y="360000"/>
            <a:ext cx="11468463" cy="360000"/>
          </a:xfrm>
          <a:prstGeom prst="rect">
            <a:avLst/>
          </a:prstGeom>
        </p:spPr>
        <p:txBody>
          <a:bodyPr vert="horz" lIns="0" tIns="0" rIns="0" bIns="0" rtlCol="0" anchor="ctr">
            <a:noAutofit/>
          </a:bodyPr>
          <a:lstStyle/>
          <a:p>
            <a:r>
              <a:rPr lang="en-US" dirty="0"/>
              <a:t>Click to edit slide title</a:t>
            </a:r>
          </a:p>
        </p:txBody>
      </p:sp>
      <p:sp>
        <p:nvSpPr>
          <p:cNvPr id="4" name="Text Placeholder 3">
            <a:extLst>
              <a:ext uri="{FF2B5EF4-FFF2-40B4-BE49-F238E27FC236}">
                <a16:creationId xmlns:a16="http://schemas.microsoft.com/office/drawing/2014/main" id="{858F6D9C-6E29-45E1-A21D-B29BC12D7EAF}"/>
              </a:ext>
            </a:extLst>
          </p:cNvPr>
          <p:cNvSpPr>
            <a:spLocks noGrp="1"/>
          </p:cNvSpPr>
          <p:nvPr>
            <p:ph type="body" idx="1"/>
          </p:nvPr>
        </p:nvSpPr>
        <p:spPr>
          <a:xfrm>
            <a:off x="360000" y="1087228"/>
            <a:ext cx="11469600" cy="5221497"/>
          </a:xfrm>
          <a:prstGeom prst="rect">
            <a:avLst/>
          </a:prstGeom>
        </p:spPr>
        <p:txBody>
          <a:bodyPr vert="horz" lIns="0" tIns="0" rIns="0" bIns="0" rtlCol="0">
            <a:normAutofit/>
          </a:bodyPr>
          <a:lstStyle/>
          <a:p>
            <a:pPr marL="180000" lvl="0" indent="-180000" algn="l" defTabSz="914400" rtl="0" eaLnBrk="1" latinLnBrk="0" hangingPunct="1">
              <a:lnSpc>
                <a:spcPct val="120000"/>
              </a:lnSpc>
              <a:spcBef>
                <a:spcPts val="1200"/>
              </a:spcBef>
              <a:buClr>
                <a:schemeClr val="accent1"/>
              </a:buClr>
              <a:buFont typeface="Arial" panose="020B0604020202020204" pitchFamily="34" charset="0"/>
              <a:buChar char="\"/>
            </a:pPr>
            <a:r>
              <a:rPr lang="en-US" dirty="0"/>
              <a:t>Click to edit text</a:t>
            </a:r>
          </a:p>
          <a:p>
            <a:pPr lvl="1"/>
            <a:r>
              <a:rPr lang="en-US" dirty="0"/>
              <a:t>Second level</a:t>
            </a:r>
          </a:p>
        </p:txBody>
      </p:sp>
      <p:sp>
        <p:nvSpPr>
          <p:cNvPr id="11" name="Rectangle 10">
            <a:extLst>
              <a:ext uri="{FF2B5EF4-FFF2-40B4-BE49-F238E27FC236}">
                <a16:creationId xmlns:a16="http://schemas.microsoft.com/office/drawing/2014/main" id="{9E4A0DB5-14FA-4071-99C0-82BFAEB24F8C}"/>
              </a:ext>
            </a:extLst>
          </p:cNvPr>
          <p:cNvSpPr/>
          <p:nvPr/>
        </p:nvSpPr>
        <p:spPr>
          <a:xfrm>
            <a:off x="611999" y="6308725"/>
            <a:ext cx="1819409" cy="549275"/>
          </a:xfrm>
          <a:prstGeom prst="rect">
            <a:avLst/>
          </a:prstGeom>
        </p:spPr>
        <p:txBody>
          <a:bodyPr wrap="none" lIns="0" tIns="0" rIns="0" bIns="0" anchor="ctr">
            <a:noAutofit/>
          </a:bodyPr>
          <a:lstStyle/>
          <a:p>
            <a:pPr lvl="0"/>
            <a:r>
              <a:rPr lang="en-US" sz="800" dirty="0">
                <a:solidFill>
                  <a:schemeClr val="tx2">
                    <a:lumMod val="60000"/>
                    <a:lumOff val="40000"/>
                    <a:alpha val="50000"/>
                  </a:schemeClr>
                </a:solidFill>
              </a:rPr>
              <a:t>Confidential © </a:t>
            </a:r>
            <a:fld id="{AB00A70B-9C44-4596-90DE-894BC522FF9F}" type="datetimeyyyy">
              <a:rPr lang="en-US" sz="800" smtClean="0">
                <a:solidFill>
                  <a:schemeClr val="tx2">
                    <a:lumMod val="60000"/>
                    <a:lumOff val="40000"/>
                    <a:alpha val="50000"/>
                  </a:schemeClr>
                </a:solidFill>
              </a:rPr>
              <a:pPr lvl="0"/>
              <a:t>2022</a:t>
            </a:fld>
            <a:r>
              <a:rPr lang="en-US" sz="800" dirty="0">
                <a:solidFill>
                  <a:schemeClr val="tx2">
                    <a:lumMod val="60000"/>
                    <a:lumOff val="40000"/>
                    <a:alpha val="50000"/>
                  </a:schemeClr>
                </a:solidFill>
              </a:rPr>
              <a:t> Persistent Systems</a:t>
            </a:r>
          </a:p>
        </p:txBody>
      </p:sp>
      <p:sp>
        <p:nvSpPr>
          <p:cNvPr id="9" name="Slide Number Placeholder 5">
            <a:extLst>
              <a:ext uri="{FF2B5EF4-FFF2-40B4-BE49-F238E27FC236}">
                <a16:creationId xmlns:a16="http://schemas.microsoft.com/office/drawing/2014/main" id="{CA242A93-311C-4B1E-BF74-6F9F7B4D5998}"/>
              </a:ext>
            </a:extLst>
          </p:cNvPr>
          <p:cNvSpPr>
            <a:spLocks noGrp="1"/>
          </p:cNvSpPr>
          <p:nvPr>
            <p:ph type="sldNum" sz="quarter" idx="4"/>
          </p:nvPr>
        </p:nvSpPr>
        <p:spPr>
          <a:xfrm>
            <a:off x="359999" y="6308725"/>
            <a:ext cx="125034" cy="549275"/>
          </a:xfrm>
          <a:prstGeom prst="rect">
            <a:avLst/>
          </a:prstGeom>
        </p:spPr>
        <p:txBody>
          <a:bodyPr wrap="none" lIns="0" tIns="0" rIns="0" bIns="0" anchor="ctr">
            <a:noAutofit/>
          </a:bodyPr>
          <a:lstStyle>
            <a:lvl1pPr>
              <a:defRPr lang="en-US" sz="800" smtClean="0">
                <a:solidFill>
                  <a:schemeClr val="tx2">
                    <a:lumMod val="60000"/>
                    <a:lumOff val="40000"/>
                    <a:alpha val="50000"/>
                  </a:schemeClr>
                </a:solidFill>
              </a:defRPr>
            </a:lvl1pPr>
          </a:lstStyle>
          <a:p>
            <a:fld id="{9A0F7689-66CB-EC4F-9B5C-9C3D3ED1F24F}" type="slidenum">
              <a:rPr lang="en-US" smtClean="0"/>
              <a:pPr/>
              <a:t>‹#›</a:t>
            </a:fld>
            <a:endParaRPr lang="en-US" dirty="0"/>
          </a:p>
        </p:txBody>
      </p:sp>
      <p:pic>
        <p:nvPicPr>
          <p:cNvPr id="10" name="Graphic 9">
            <a:extLst>
              <a:ext uri="{FF2B5EF4-FFF2-40B4-BE49-F238E27FC236}">
                <a16:creationId xmlns:a16="http://schemas.microsoft.com/office/drawing/2014/main" id="{E10A6CFA-C025-4652-BCA7-550B5032BC97}"/>
              </a:ext>
            </a:extLst>
          </p:cNvPr>
          <p:cNvPicPr>
            <a:picLocks noChangeAspect="1"/>
          </p:cNvPicPr>
          <p:nvPr/>
        </p:nvPicPr>
        <p:blipFill>
          <a:blip r:embed="rId52" cstate="screen">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11026029" y="6498000"/>
            <a:ext cx="803571" cy="180000"/>
          </a:xfrm>
          <a:prstGeom prst="rect">
            <a:avLst/>
          </a:prstGeom>
        </p:spPr>
      </p:pic>
    </p:spTree>
    <p:extLst>
      <p:ext uri="{BB962C8B-B14F-4D97-AF65-F5344CB8AC3E}">
        <p14:creationId xmlns:p14="http://schemas.microsoft.com/office/powerpoint/2010/main" val="339721800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 id="2147483786" r:id="rId32"/>
    <p:sldLayoutId id="2147483787" r:id="rId33"/>
    <p:sldLayoutId id="2147483788" r:id="rId34"/>
    <p:sldLayoutId id="2147483789" r:id="rId35"/>
    <p:sldLayoutId id="2147483790" r:id="rId36"/>
    <p:sldLayoutId id="2147483791" r:id="rId37"/>
    <p:sldLayoutId id="2147483792" r:id="rId38"/>
    <p:sldLayoutId id="2147483793" r:id="rId39"/>
    <p:sldLayoutId id="2147483794" r:id="rId40"/>
    <p:sldLayoutId id="2147483795" r:id="rId41"/>
    <p:sldLayoutId id="2147483796" r:id="rId42"/>
    <p:sldLayoutId id="2147483797" r:id="rId43"/>
    <p:sldLayoutId id="2147483798" r:id="rId44"/>
    <p:sldLayoutId id="2147483799" r:id="rId45"/>
    <p:sldLayoutId id="2147483800" r:id="rId46"/>
    <p:sldLayoutId id="2147483801" r:id="rId47"/>
    <p:sldLayoutId id="2147483802" r:id="rId48"/>
    <p:sldLayoutId id="2147483803" r:id="rId49"/>
    <p:sldLayoutId id="2147483804"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000" b="1" kern="1200" spc="-40" baseline="0">
          <a:solidFill>
            <a:schemeClr val="tx2">
              <a:lumMod val="40000"/>
              <a:lumOff val="60000"/>
            </a:schemeClr>
          </a:solidFill>
          <a:latin typeface="+mj-lt"/>
          <a:ea typeface="+mj-ea"/>
          <a:cs typeface="+mj-cs"/>
        </a:defRPr>
      </a:lvl1pPr>
    </p:titleStyle>
    <p:bodyStyle>
      <a:lvl1pPr marL="180000" indent="-180000" algn="l" defTabSz="914400" rtl="0" eaLnBrk="1" latinLnBrk="0" hangingPunct="1">
        <a:lnSpc>
          <a:spcPct val="120000"/>
        </a:lnSpc>
        <a:spcBef>
          <a:spcPts val="1200"/>
        </a:spcBef>
        <a:buClr>
          <a:schemeClr val="accent1"/>
        </a:buClr>
        <a:buFont typeface="Arial" panose="020B0604020202020204" pitchFamily="34" charset="0"/>
        <a:buChar char="\"/>
        <a:defRPr lang="en-US" sz="1600" kern="1200" baseline="0" dirty="0" smtClean="0">
          <a:solidFill>
            <a:schemeClr val="bg2"/>
          </a:solidFill>
          <a:latin typeface="+mn-lt"/>
          <a:ea typeface="+mn-ea"/>
          <a:cs typeface="+mn-cs"/>
        </a:defRPr>
      </a:lvl1pPr>
      <a:lvl2pPr marL="540000" indent="-180000" algn="l" defTabSz="914400" rtl="0" eaLnBrk="1" latinLnBrk="0" hangingPunct="1">
        <a:lnSpc>
          <a:spcPct val="120000"/>
        </a:lnSpc>
        <a:spcBef>
          <a:spcPts val="500"/>
        </a:spcBef>
        <a:buClr>
          <a:schemeClr val="accent1"/>
        </a:buClr>
        <a:buFont typeface="System Font Regular"/>
        <a:buChar char="-"/>
        <a:defRPr lang="en-US" sz="1600" kern="1200" baseline="0" dirty="0" smtClean="0">
          <a:solidFill>
            <a:schemeClr val="bg2"/>
          </a:solidFill>
          <a:latin typeface="+mn-lt"/>
          <a:ea typeface="+mn-ea"/>
          <a:cs typeface="+mn-cs"/>
        </a:defRPr>
      </a:lvl2pPr>
      <a:lvl3pPr marL="914400" indent="0" algn="l" defTabSz="914400" rtl="0" eaLnBrk="1" latinLnBrk="0" hangingPunct="1">
        <a:lnSpc>
          <a:spcPct val="120000"/>
        </a:lnSpc>
        <a:spcBef>
          <a:spcPts val="500"/>
        </a:spcBef>
        <a:buClr>
          <a:schemeClr val="accent1"/>
        </a:buClr>
        <a:buFont typeface="Arial" panose="020B0604020202020204" pitchFamily="34" charset="0"/>
        <a:buNone/>
        <a:defRPr sz="1600" kern="1200" baseline="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37">
          <p15:clr>
            <a:srgbClr val="F26B43"/>
          </p15:clr>
        </p15:guide>
        <p15:guide id="2" pos="7451">
          <p15:clr>
            <a:srgbClr val="F26B43"/>
          </p15:clr>
        </p15:guide>
        <p15:guide id="3" pos="222">
          <p15:clr>
            <a:srgbClr val="F26B43"/>
          </p15:clr>
        </p15:guide>
        <p15:guide id="4" orient="horz" pos="676">
          <p15:clr>
            <a:srgbClr val="F26B43"/>
          </p15:clr>
        </p15:guide>
        <p15:guide id="5" pos="3833">
          <p15:clr>
            <a:srgbClr val="F26B43"/>
          </p15:clr>
        </p15:guide>
        <p15:guide id="7" orient="horz" pos="3974">
          <p15:clr>
            <a:srgbClr val="F26B43"/>
          </p15:clr>
        </p15:guide>
        <p15:guide id="8" orient="horz" pos="454">
          <p15:clr>
            <a:srgbClr val="F26B43"/>
          </p15:clr>
        </p15:guide>
        <p15:guide id="9" orient="horz" pos="22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7C0583F-7C2A-4B7A-99AC-DBFA09DAE6E7}"/>
              </a:ext>
            </a:extLst>
          </p:cNvPr>
          <p:cNvSpPr txBox="1"/>
          <p:nvPr/>
        </p:nvSpPr>
        <p:spPr>
          <a:xfrm>
            <a:off x="359999" y="362220"/>
            <a:ext cx="5737212" cy="369332"/>
          </a:xfrm>
          <a:prstGeom prst="rect">
            <a:avLst/>
          </a:prstGeom>
          <a:noFill/>
        </p:spPr>
        <p:txBody>
          <a:bodyPr wrap="none" rtlCol="0">
            <a:spAutoFit/>
          </a:bodyPr>
          <a:lstStyle/>
          <a:p>
            <a:pPr algn="l"/>
            <a:r>
              <a:rPr lang="en-US" b="1" i="0" dirty="0">
                <a:solidFill>
                  <a:schemeClr val="bg1">
                    <a:lumMod val="65000"/>
                  </a:schemeClr>
                </a:solidFill>
                <a:effectLst/>
                <a:latin typeface="Arial Black" panose="020B0A04020102020204" pitchFamily="34" charset="0"/>
                <a:cs typeface="Arial" panose="020B0604020202020204" pitchFamily="34" charset="0"/>
              </a:rPr>
              <a:t>Sales Intelligence for Account </a:t>
            </a:r>
            <a:r>
              <a:rPr lang="en-US" b="1" dirty="0">
                <a:solidFill>
                  <a:schemeClr val="bg1">
                    <a:lumMod val="65000"/>
                  </a:schemeClr>
                </a:solidFill>
                <a:latin typeface="Arial Black" panose="020B0A04020102020204" pitchFamily="34" charset="0"/>
                <a:cs typeface="Arial" panose="020B0604020202020204" pitchFamily="34" charset="0"/>
              </a:rPr>
              <a:t>E</a:t>
            </a:r>
            <a:r>
              <a:rPr lang="en-US" b="1" i="0" dirty="0">
                <a:solidFill>
                  <a:schemeClr val="bg1">
                    <a:lumMod val="65000"/>
                  </a:schemeClr>
                </a:solidFill>
                <a:effectLst/>
                <a:latin typeface="Arial Black" panose="020B0A04020102020204" pitchFamily="34" charset="0"/>
                <a:cs typeface="Arial" panose="020B0604020202020204" pitchFamily="34" charset="0"/>
              </a:rPr>
              <a:t>ngagement</a:t>
            </a:r>
          </a:p>
        </p:txBody>
      </p:sp>
      <p:sp>
        <p:nvSpPr>
          <p:cNvPr id="20" name="Content Placeholder 5">
            <a:extLst>
              <a:ext uri="{FF2B5EF4-FFF2-40B4-BE49-F238E27FC236}">
                <a16:creationId xmlns:a16="http://schemas.microsoft.com/office/drawing/2014/main" id="{09C61464-6E33-4A9C-8A6E-C70BA3B0E634}"/>
              </a:ext>
            </a:extLst>
          </p:cNvPr>
          <p:cNvSpPr txBox="1">
            <a:spLocks/>
          </p:cNvSpPr>
          <p:nvPr/>
        </p:nvSpPr>
        <p:spPr>
          <a:xfrm>
            <a:off x="359999" y="1805939"/>
            <a:ext cx="5631225" cy="4395163"/>
          </a:xfrm>
          <a:prstGeom prst="rect">
            <a:avLst/>
          </a:prstGeom>
          <a:solidFill>
            <a:schemeClr val="tx2"/>
          </a:solidFill>
          <a:effectLst/>
        </p:spPr>
        <p:txBody>
          <a:bodyPr vert="horz" lIns="144000" tIns="144000" rIns="144000" bIns="36000" rtlCol="0">
            <a:noAutofit/>
          </a:bodyPr>
          <a:lstStyle>
            <a:lvl1pPr marL="180000" indent="-180000" algn="l" defTabSz="914400" rtl="0" eaLnBrk="1" latinLnBrk="0" hangingPunct="1">
              <a:lnSpc>
                <a:spcPct val="120000"/>
              </a:lnSpc>
              <a:spcBef>
                <a:spcPts val="500"/>
              </a:spcBef>
              <a:buClr>
                <a:schemeClr val="accent1"/>
              </a:buClr>
              <a:buFont typeface="Arial" panose="020B0604020202020204" pitchFamily="34" charset="0"/>
              <a:buChar char="\"/>
              <a:defRPr lang="en-US" sz="1200" kern="1200" baseline="0" dirty="0">
                <a:solidFill>
                  <a:schemeClr val="tx1"/>
                </a:solidFill>
                <a:latin typeface="+mn-lt"/>
                <a:ea typeface="+mn-ea"/>
                <a:cs typeface="+mn-cs"/>
              </a:defRPr>
            </a:lvl1pPr>
            <a:lvl2pPr marL="649287" indent="-285750" algn="l" defTabSz="914400" rtl="0" eaLnBrk="1" latinLnBrk="0" hangingPunct="1">
              <a:lnSpc>
                <a:spcPct val="120000"/>
              </a:lnSpc>
              <a:spcBef>
                <a:spcPts val="500"/>
              </a:spcBef>
              <a:buClr>
                <a:schemeClr val="accent1"/>
              </a:buClr>
              <a:buFont typeface="System Font Regular"/>
              <a:buChar char="-"/>
              <a:defRPr lang="en-US" sz="1200" kern="1200" baseline="0" dirty="0">
                <a:solidFill>
                  <a:schemeClr val="tx1"/>
                </a:solidFill>
                <a:latin typeface="+mn-lt"/>
                <a:ea typeface="+mn-ea"/>
                <a:cs typeface="+mn-cs"/>
              </a:defRPr>
            </a:lvl2pPr>
            <a:lvl3pPr marL="914400" indent="0" algn="l" defTabSz="914400" rtl="0" eaLnBrk="1" latinLnBrk="0" hangingPunct="1">
              <a:lnSpc>
                <a:spcPct val="120000"/>
              </a:lnSpc>
              <a:spcBef>
                <a:spcPts val="5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marR="0" lvl="0" indent="-216000" algn="l" defTabSz="914400" rtl="0" eaLnBrk="1" fontAlgn="auto" latinLnBrk="0" hangingPunct="1">
              <a:lnSpc>
                <a:spcPct val="110000"/>
              </a:lnSpc>
              <a:spcBef>
                <a:spcPts val="1200"/>
              </a:spcBef>
              <a:spcAft>
                <a:spcPts val="0"/>
              </a:spcAft>
              <a:buClr>
                <a:srgbClr val="F5AE45"/>
              </a:buClr>
              <a:buSzTx/>
              <a:buFont typeface="Arial" panose="020B0604020202020204" pitchFamily="34" charset="0"/>
              <a:buChar char="\"/>
              <a:tabLst/>
              <a:defRPr/>
            </a:pPr>
            <a:r>
              <a:rPr lang="en-US" sz="1400" b="1" dirty="0">
                <a:solidFill>
                  <a:srgbClr val="4E4B54"/>
                </a:solidFill>
                <a:latin typeface="Arial" panose="020B0604020202020204"/>
              </a:rPr>
              <a:t>Systematically analyzes </a:t>
            </a:r>
            <a:r>
              <a:rPr lang="en-US" sz="1400" dirty="0">
                <a:solidFill>
                  <a:srgbClr val="4E4B54"/>
                </a:solidFill>
                <a:latin typeface="Arial" panose="020B0604020202020204"/>
              </a:rPr>
              <a:t>earnings call transcripts, SEC filings, and conference presentations for key trends and outliers</a:t>
            </a:r>
          </a:p>
          <a:p>
            <a:pPr marL="216000" marR="0" lvl="0" indent="-216000" algn="l" defTabSz="914400" rtl="0" eaLnBrk="1" fontAlgn="auto" latinLnBrk="0" hangingPunct="1">
              <a:lnSpc>
                <a:spcPct val="110000"/>
              </a:lnSpc>
              <a:spcBef>
                <a:spcPts val="1200"/>
              </a:spcBef>
              <a:spcAft>
                <a:spcPts val="0"/>
              </a:spcAft>
              <a:buClr>
                <a:srgbClr val="F5AE45"/>
              </a:buClr>
              <a:buSzTx/>
              <a:buFont typeface="Arial" panose="020B0604020202020204" pitchFamily="34" charset="0"/>
              <a:buChar char="\"/>
              <a:tabLst/>
              <a:defRPr/>
            </a:pPr>
            <a:r>
              <a:rPr lang="en-US" sz="1400" dirty="0">
                <a:solidFill>
                  <a:srgbClr val="4E4B54"/>
                </a:solidFill>
                <a:latin typeface="Arial" panose="020B0604020202020204"/>
              </a:rPr>
              <a:t>Identify critical insights and understand more about the </a:t>
            </a:r>
            <a:r>
              <a:rPr lang="en-US" sz="1400" b="1" dirty="0">
                <a:solidFill>
                  <a:srgbClr val="4E4B54"/>
                </a:solidFill>
                <a:latin typeface="Arial" panose="020B0604020202020204"/>
              </a:rPr>
              <a:t>categories</a:t>
            </a:r>
            <a:r>
              <a:rPr lang="en-US" sz="1400" dirty="0">
                <a:solidFill>
                  <a:srgbClr val="4E4B54"/>
                </a:solidFill>
                <a:latin typeface="Arial" panose="020B0604020202020204"/>
              </a:rPr>
              <a:t> that matter for us</a:t>
            </a:r>
          </a:p>
          <a:p>
            <a:pPr marL="216000" marR="0" lvl="0" indent="-216000" algn="l" defTabSz="914400" rtl="0" eaLnBrk="1" fontAlgn="auto" latinLnBrk="0" hangingPunct="1">
              <a:lnSpc>
                <a:spcPct val="110000"/>
              </a:lnSpc>
              <a:spcBef>
                <a:spcPts val="1200"/>
              </a:spcBef>
              <a:spcAft>
                <a:spcPts val="0"/>
              </a:spcAft>
              <a:buClr>
                <a:srgbClr val="F5AE45"/>
              </a:buClr>
              <a:buSzTx/>
              <a:buFont typeface="Arial" panose="020B0604020202020204" pitchFamily="34" charset="0"/>
              <a:buChar char="\"/>
              <a:tabLst/>
              <a:defRPr/>
            </a:pPr>
            <a:r>
              <a:rPr lang="en-US" sz="1400" dirty="0">
                <a:solidFill>
                  <a:srgbClr val="4E4B54"/>
                </a:solidFill>
                <a:latin typeface="Arial" panose="020B0604020202020204"/>
              </a:rPr>
              <a:t>Identify </a:t>
            </a:r>
            <a:r>
              <a:rPr lang="en-US" sz="1400" b="1" dirty="0">
                <a:solidFill>
                  <a:srgbClr val="4E4B54"/>
                </a:solidFill>
                <a:latin typeface="Arial" panose="020B0604020202020204"/>
              </a:rPr>
              <a:t>top topics </a:t>
            </a:r>
            <a:r>
              <a:rPr lang="en-US" sz="1400" dirty="0">
                <a:solidFill>
                  <a:srgbClr val="4E4B54"/>
                </a:solidFill>
                <a:latin typeface="Arial" panose="020B0604020202020204"/>
              </a:rPr>
              <a:t>mentioned most frequently and categorizing each topic by using text analytics</a:t>
            </a:r>
          </a:p>
          <a:p>
            <a:pPr marL="216000" marR="0" lvl="0" indent="-216000" algn="l" defTabSz="914400" rtl="0" eaLnBrk="1" fontAlgn="auto" latinLnBrk="0" hangingPunct="1">
              <a:lnSpc>
                <a:spcPct val="110000"/>
              </a:lnSpc>
              <a:spcBef>
                <a:spcPts val="1200"/>
              </a:spcBef>
              <a:spcAft>
                <a:spcPts val="0"/>
              </a:spcAft>
              <a:buClr>
                <a:srgbClr val="F5AE45"/>
              </a:buClr>
              <a:buSzTx/>
              <a:buFont typeface="Arial" panose="020B0604020202020204" pitchFamily="34" charset="0"/>
              <a:buChar char="\"/>
              <a:tabLst/>
              <a:defRPr/>
            </a:pPr>
            <a:r>
              <a:rPr lang="en-US" sz="1400" dirty="0">
                <a:solidFill>
                  <a:srgbClr val="4E4B54"/>
                </a:solidFill>
                <a:latin typeface="Arial" panose="020B0604020202020204"/>
              </a:rPr>
              <a:t>Identify new insights, spot outliers, or explore areas</a:t>
            </a:r>
          </a:p>
        </p:txBody>
      </p:sp>
      <p:sp>
        <p:nvSpPr>
          <p:cNvPr id="22" name="Text Placeholder 44">
            <a:extLst>
              <a:ext uri="{FF2B5EF4-FFF2-40B4-BE49-F238E27FC236}">
                <a16:creationId xmlns:a16="http://schemas.microsoft.com/office/drawing/2014/main" id="{F3C74D1F-5E1B-4B79-928F-BC5FCDA9A72B}"/>
              </a:ext>
            </a:extLst>
          </p:cNvPr>
          <p:cNvSpPr txBox="1">
            <a:spLocks/>
          </p:cNvSpPr>
          <p:nvPr/>
        </p:nvSpPr>
        <p:spPr>
          <a:xfrm>
            <a:off x="360000" y="1073150"/>
            <a:ext cx="5631224" cy="730800"/>
          </a:xfrm>
          <a:prstGeom prst="rect">
            <a:avLst/>
          </a:prstGeom>
          <a:solidFill>
            <a:srgbClr val="00ADC6"/>
          </a:solidFill>
        </p:spPr>
        <p:txBody>
          <a:bodyPr vert="horz" lIns="144000" tIns="144000" rIns="144000" bIns="144000" rtlCol="0" anchor="ctr" anchorCtr="0">
            <a:noAutofit/>
          </a:bodyPr>
          <a:lstStyle>
            <a:lvl1pPr marL="0" indent="0" algn="l" defTabSz="914400" rtl="0" eaLnBrk="1" latinLnBrk="0" hangingPunct="1">
              <a:lnSpc>
                <a:spcPct val="120000"/>
              </a:lnSpc>
              <a:spcBef>
                <a:spcPts val="1200"/>
              </a:spcBef>
              <a:buClr>
                <a:schemeClr val="accent1"/>
              </a:buClr>
              <a:buFont typeface="Arial" panose="020B0604020202020204" pitchFamily="34" charset="0"/>
              <a:buNone/>
              <a:defRPr lang="en-US" sz="1600" b="1" i="0" kern="1200" baseline="0">
                <a:solidFill>
                  <a:schemeClr val="bg2"/>
                </a:solidFill>
                <a:latin typeface="Arial Black" panose="020B0604020202020204" pitchFamily="34" charset="0"/>
                <a:ea typeface="+mn-ea"/>
                <a:cs typeface="Arial Black" panose="020B0604020202020204" pitchFamily="34" charset="0"/>
              </a:defRPr>
            </a:lvl1pPr>
            <a:lvl2pPr marL="360000" indent="0" algn="l" defTabSz="914400" rtl="0" eaLnBrk="1" latinLnBrk="0" hangingPunct="1">
              <a:lnSpc>
                <a:spcPct val="120000"/>
              </a:lnSpc>
              <a:spcBef>
                <a:spcPts val="500"/>
              </a:spcBef>
              <a:buClr>
                <a:schemeClr val="accent1"/>
              </a:buClr>
              <a:buFont typeface="System Font Regular"/>
              <a:buNone/>
              <a:defRPr lang="en-US" sz="1400" b="1" i="0" kern="1200" baseline="0">
                <a:solidFill>
                  <a:schemeClr val="tx1"/>
                </a:solidFill>
                <a:latin typeface="Arial Black" panose="020B0604020202020204" pitchFamily="34" charset="0"/>
                <a:ea typeface="+mn-ea"/>
                <a:cs typeface="Arial Black" panose="020B0604020202020204" pitchFamily="34" charset="0"/>
              </a:defRPr>
            </a:lvl2pPr>
            <a:lvl3pPr marL="914400" indent="0" algn="l" defTabSz="914400" rtl="0" eaLnBrk="1" latinLnBrk="0" hangingPunct="1">
              <a:lnSpc>
                <a:spcPct val="120000"/>
              </a:lnSpc>
              <a:spcBef>
                <a:spcPts val="500"/>
              </a:spcBef>
              <a:buClr>
                <a:schemeClr val="accent1"/>
              </a:buClr>
              <a:buFont typeface="Arial" panose="020B0604020202020204" pitchFamily="34" charset="0"/>
              <a:buNone/>
              <a:defRPr sz="1400" b="1" i="0" kern="1200" baseline="0">
                <a:solidFill>
                  <a:schemeClr val="tx1"/>
                </a:solidFill>
                <a:latin typeface="Arial Black" panose="020B0604020202020204" pitchFamily="34" charset="0"/>
                <a:ea typeface="+mn-ea"/>
                <a:cs typeface="Arial Black" panose="020B0604020202020204" pitchFamily="34" charset="0"/>
              </a:defRPr>
            </a:lvl3pPr>
            <a:lvl4pPr marL="1371600" indent="0" algn="l" defTabSz="914400" rtl="0" eaLnBrk="1" latinLnBrk="0" hangingPunct="1">
              <a:lnSpc>
                <a:spcPct val="120000"/>
              </a:lnSpc>
              <a:spcBef>
                <a:spcPts val="500"/>
              </a:spcBef>
              <a:buClr>
                <a:schemeClr val="accent1"/>
              </a:buClr>
              <a:buFont typeface="Arial" panose="020B0604020202020204" pitchFamily="34" charset="0"/>
              <a:buNone/>
              <a:defRPr sz="1400" b="1" i="0" kern="1200" baseline="0">
                <a:solidFill>
                  <a:schemeClr val="tx1"/>
                </a:solidFill>
                <a:latin typeface="Arial Black" panose="020B0604020202020204" pitchFamily="34" charset="0"/>
                <a:ea typeface="+mn-ea"/>
                <a:cs typeface="Arial Black" panose="020B0604020202020204" pitchFamily="34" charset="0"/>
              </a:defRPr>
            </a:lvl4pPr>
            <a:lvl5pPr marL="1828800" indent="0" algn="l" defTabSz="914400" rtl="0" eaLnBrk="1" latinLnBrk="0" hangingPunct="1">
              <a:lnSpc>
                <a:spcPct val="120000"/>
              </a:lnSpc>
              <a:spcBef>
                <a:spcPts val="500"/>
              </a:spcBef>
              <a:buClr>
                <a:schemeClr val="accent1"/>
              </a:buClr>
              <a:buFont typeface="Arial" panose="020B0604020202020204" pitchFamily="34" charset="0"/>
              <a:buNone/>
              <a:defRPr sz="1400" b="1" i="0" kern="1200" baseline="0">
                <a:solidFill>
                  <a:schemeClr val="tx1"/>
                </a:solidFill>
                <a:latin typeface="Arial Black" panose="020B0604020202020204" pitchFamily="34" charset="0"/>
                <a:ea typeface="+mn-ea"/>
                <a:cs typeface="Arial Black"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chemeClr val="tx2"/>
                </a:solidFill>
                <a:latin typeface="Arial Black" panose="020B0A04020102020204" pitchFamily="34" charset="0"/>
                <a:cs typeface="Arial" panose="020B0604020202020204" pitchFamily="34" charset="0"/>
              </a:rPr>
              <a:t>Earnings Sentiment Analysis</a:t>
            </a:r>
            <a:endParaRPr lang="en-US" sz="1800" b="1" dirty="0">
              <a:solidFill>
                <a:schemeClr val="tx2"/>
              </a:solidFill>
              <a:latin typeface="Arial Black" panose="020B0A04020102020204" pitchFamily="34" charset="0"/>
              <a:cs typeface="Arial" panose="020B0604020202020204" pitchFamily="34" charset="0"/>
            </a:endParaRPr>
          </a:p>
        </p:txBody>
      </p:sp>
      <p:sp>
        <p:nvSpPr>
          <p:cNvPr id="9" name="Content Placeholder 5">
            <a:extLst>
              <a:ext uri="{FF2B5EF4-FFF2-40B4-BE49-F238E27FC236}">
                <a16:creationId xmlns:a16="http://schemas.microsoft.com/office/drawing/2014/main" id="{A14A321E-93F2-4EA7-BFC7-C5958070BE41}"/>
              </a:ext>
            </a:extLst>
          </p:cNvPr>
          <p:cNvSpPr txBox="1">
            <a:spLocks/>
          </p:cNvSpPr>
          <p:nvPr/>
        </p:nvSpPr>
        <p:spPr>
          <a:xfrm>
            <a:off x="6200775" y="1805939"/>
            <a:ext cx="5631225" cy="4395163"/>
          </a:xfrm>
          <a:prstGeom prst="rect">
            <a:avLst/>
          </a:prstGeom>
          <a:solidFill>
            <a:schemeClr val="tx2"/>
          </a:solidFill>
          <a:effectLst/>
        </p:spPr>
        <p:txBody>
          <a:bodyPr vert="horz" lIns="144000" tIns="144000" rIns="144000" bIns="36000" rtlCol="0">
            <a:noAutofit/>
          </a:bodyPr>
          <a:lstStyle>
            <a:lvl1pPr marL="180000" indent="-180000" algn="l" defTabSz="914400" rtl="0" eaLnBrk="1" latinLnBrk="0" hangingPunct="1">
              <a:lnSpc>
                <a:spcPct val="120000"/>
              </a:lnSpc>
              <a:spcBef>
                <a:spcPts val="500"/>
              </a:spcBef>
              <a:buClr>
                <a:schemeClr val="accent1"/>
              </a:buClr>
              <a:buFont typeface="Arial" panose="020B0604020202020204" pitchFamily="34" charset="0"/>
              <a:buChar char="\"/>
              <a:defRPr lang="en-US" sz="1200" kern="1200" baseline="0" dirty="0">
                <a:solidFill>
                  <a:schemeClr val="tx1"/>
                </a:solidFill>
                <a:latin typeface="+mn-lt"/>
                <a:ea typeface="+mn-ea"/>
                <a:cs typeface="+mn-cs"/>
              </a:defRPr>
            </a:lvl1pPr>
            <a:lvl2pPr marL="649287" indent="-285750" algn="l" defTabSz="914400" rtl="0" eaLnBrk="1" latinLnBrk="0" hangingPunct="1">
              <a:lnSpc>
                <a:spcPct val="120000"/>
              </a:lnSpc>
              <a:spcBef>
                <a:spcPts val="500"/>
              </a:spcBef>
              <a:buClr>
                <a:schemeClr val="accent1"/>
              </a:buClr>
              <a:buFont typeface="System Font Regular"/>
              <a:buChar char="-"/>
              <a:defRPr lang="en-US" sz="1200" kern="1200" baseline="0" dirty="0">
                <a:solidFill>
                  <a:schemeClr val="tx1"/>
                </a:solidFill>
                <a:latin typeface="+mn-lt"/>
                <a:ea typeface="+mn-ea"/>
                <a:cs typeface="+mn-cs"/>
              </a:defRPr>
            </a:lvl2pPr>
            <a:lvl3pPr marL="914400" indent="0" algn="l" defTabSz="914400" rtl="0" eaLnBrk="1" latinLnBrk="0" hangingPunct="1">
              <a:lnSpc>
                <a:spcPct val="120000"/>
              </a:lnSpc>
              <a:spcBef>
                <a:spcPts val="500"/>
              </a:spcBef>
              <a:buClr>
                <a:schemeClr val="accent1"/>
              </a:buClr>
              <a:buFont typeface="Arial" panose="020B0604020202020204" pitchFamily="34" charset="0"/>
              <a:buNone/>
              <a:defRPr lang="en-US" sz="1600" kern="1200" baseline="0" dirty="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900"/>
              </a:spcAft>
              <a:buClr>
                <a:srgbClr val="F5AE45"/>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231E28"/>
              </a:solidFill>
              <a:effectLst/>
              <a:uLnTx/>
              <a:uFillTx/>
              <a:latin typeface="Arial" panose="020B0604020202020204"/>
              <a:ea typeface="+mn-ea"/>
              <a:cs typeface="+mn-cs"/>
            </a:endParaRPr>
          </a:p>
        </p:txBody>
      </p:sp>
      <p:sp>
        <p:nvSpPr>
          <p:cNvPr id="10" name="Text Placeholder 44">
            <a:extLst>
              <a:ext uri="{FF2B5EF4-FFF2-40B4-BE49-F238E27FC236}">
                <a16:creationId xmlns:a16="http://schemas.microsoft.com/office/drawing/2014/main" id="{99A279F8-806A-4763-9306-BF507E05B4A8}"/>
              </a:ext>
            </a:extLst>
          </p:cNvPr>
          <p:cNvSpPr txBox="1">
            <a:spLocks/>
          </p:cNvSpPr>
          <p:nvPr/>
        </p:nvSpPr>
        <p:spPr>
          <a:xfrm>
            <a:off x="6200776" y="1073150"/>
            <a:ext cx="5631224" cy="730800"/>
          </a:xfrm>
          <a:prstGeom prst="rect">
            <a:avLst/>
          </a:prstGeom>
          <a:solidFill>
            <a:srgbClr val="00ADC6"/>
          </a:solidFill>
        </p:spPr>
        <p:txBody>
          <a:bodyPr vert="horz" lIns="144000" tIns="144000" rIns="144000" bIns="144000" rtlCol="0" anchor="ctr" anchorCtr="0">
            <a:noAutofit/>
          </a:bodyPr>
          <a:lstStyle>
            <a:lvl1pPr marL="0" indent="0" algn="l" defTabSz="914400" rtl="0" eaLnBrk="1" latinLnBrk="0" hangingPunct="1">
              <a:lnSpc>
                <a:spcPct val="120000"/>
              </a:lnSpc>
              <a:spcBef>
                <a:spcPts val="1200"/>
              </a:spcBef>
              <a:buClr>
                <a:schemeClr val="accent1"/>
              </a:buClr>
              <a:buFont typeface="Arial" panose="020B0604020202020204" pitchFamily="34" charset="0"/>
              <a:buNone/>
              <a:defRPr lang="en-US" sz="1600" b="1" i="0" kern="1200" baseline="0">
                <a:solidFill>
                  <a:schemeClr val="bg2"/>
                </a:solidFill>
                <a:latin typeface="Arial Black" panose="020B0604020202020204" pitchFamily="34" charset="0"/>
                <a:ea typeface="+mn-ea"/>
                <a:cs typeface="Arial Black" panose="020B0604020202020204" pitchFamily="34" charset="0"/>
              </a:defRPr>
            </a:lvl1pPr>
            <a:lvl2pPr marL="360000" indent="0" algn="l" defTabSz="914400" rtl="0" eaLnBrk="1" latinLnBrk="0" hangingPunct="1">
              <a:lnSpc>
                <a:spcPct val="120000"/>
              </a:lnSpc>
              <a:spcBef>
                <a:spcPts val="500"/>
              </a:spcBef>
              <a:buClr>
                <a:schemeClr val="accent1"/>
              </a:buClr>
              <a:buFont typeface="System Font Regular"/>
              <a:buNone/>
              <a:defRPr lang="en-US" sz="1400" b="1" i="0" kern="1200" baseline="0">
                <a:solidFill>
                  <a:schemeClr val="tx1"/>
                </a:solidFill>
                <a:latin typeface="Arial Black" panose="020B0604020202020204" pitchFamily="34" charset="0"/>
                <a:ea typeface="+mn-ea"/>
                <a:cs typeface="Arial Black" panose="020B0604020202020204" pitchFamily="34" charset="0"/>
              </a:defRPr>
            </a:lvl2pPr>
            <a:lvl3pPr marL="914400" indent="0" algn="l" defTabSz="914400" rtl="0" eaLnBrk="1" latinLnBrk="0" hangingPunct="1">
              <a:lnSpc>
                <a:spcPct val="120000"/>
              </a:lnSpc>
              <a:spcBef>
                <a:spcPts val="500"/>
              </a:spcBef>
              <a:buClr>
                <a:schemeClr val="accent1"/>
              </a:buClr>
              <a:buFont typeface="Arial" panose="020B0604020202020204" pitchFamily="34" charset="0"/>
              <a:buNone/>
              <a:defRPr sz="1400" b="1" i="0" kern="1200" baseline="0">
                <a:solidFill>
                  <a:schemeClr val="tx1"/>
                </a:solidFill>
                <a:latin typeface="Arial Black" panose="020B0604020202020204" pitchFamily="34" charset="0"/>
                <a:ea typeface="+mn-ea"/>
                <a:cs typeface="Arial Black" panose="020B0604020202020204" pitchFamily="34" charset="0"/>
              </a:defRPr>
            </a:lvl3pPr>
            <a:lvl4pPr marL="1371600" indent="0" algn="l" defTabSz="914400" rtl="0" eaLnBrk="1" latinLnBrk="0" hangingPunct="1">
              <a:lnSpc>
                <a:spcPct val="120000"/>
              </a:lnSpc>
              <a:spcBef>
                <a:spcPts val="500"/>
              </a:spcBef>
              <a:buClr>
                <a:schemeClr val="accent1"/>
              </a:buClr>
              <a:buFont typeface="Arial" panose="020B0604020202020204" pitchFamily="34" charset="0"/>
              <a:buNone/>
              <a:defRPr sz="1400" b="1" i="0" kern="1200" baseline="0">
                <a:solidFill>
                  <a:schemeClr val="tx1"/>
                </a:solidFill>
                <a:latin typeface="Arial Black" panose="020B0604020202020204" pitchFamily="34" charset="0"/>
                <a:ea typeface="+mn-ea"/>
                <a:cs typeface="Arial Black" panose="020B0604020202020204" pitchFamily="34" charset="0"/>
              </a:defRPr>
            </a:lvl4pPr>
            <a:lvl5pPr marL="1828800" indent="0" algn="l" defTabSz="914400" rtl="0" eaLnBrk="1" latinLnBrk="0" hangingPunct="1">
              <a:lnSpc>
                <a:spcPct val="120000"/>
              </a:lnSpc>
              <a:spcBef>
                <a:spcPts val="500"/>
              </a:spcBef>
              <a:buClr>
                <a:schemeClr val="accent1"/>
              </a:buClr>
              <a:buFont typeface="Arial" panose="020B0604020202020204" pitchFamily="34" charset="0"/>
              <a:buNone/>
              <a:defRPr sz="1400" b="1" i="0" kern="1200" baseline="0">
                <a:solidFill>
                  <a:schemeClr val="tx1"/>
                </a:solidFill>
                <a:latin typeface="Arial Black" panose="020B0604020202020204" pitchFamily="34" charset="0"/>
                <a:ea typeface="+mn-ea"/>
                <a:cs typeface="Arial Black"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chemeClr val="tx2"/>
                </a:solidFill>
                <a:latin typeface="Arial Black" panose="020B0A04020102020204" pitchFamily="34" charset="0"/>
                <a:cs typeface="Arial" panose="020B0604020202020204" pitchFamily="34" charset="0"/>
              </a:rPr>
              <a:t>Text Mining Flow</a:t>
            </a:r>
            <a:endParaRPr lang="en-US" sz="1800" b="1" dirty="0">
              <a:solidFill>
                <a:schemeClr val="tx2"/>
              </a:solidFill>
              <a:latin typeface="Arial Black" panose="020B0A040201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230C5EA-0BEE-4BF4-A836-D282ECE1EAA9}"/>
              </a:ext>
            </a:extLst>
          </p:cNvPr>
          <p:cNvSpPr/>
          <p:nvPr/>
        </p:nvSpPr>
        <p:spPr>
          <a:xfrm>
            <a:off x="8064443" y="2135116"/>
            <a:ext cx="1408746" cy="3759116"/>
          </a:xfrm>
          <a:prstGeom prst="rect">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TextBox 17">
            <a:extLst>
              <a:ext uri="{FF2B5EF4-FFF2-40B4-BE49-F238E27FC236}">
                <a16:creationId xmlns:a16="http://schemas.microsoft.com/office/drawing/2014/main" id="{52CE37F2-23AE-44C3-AB7E-2442B7BB5387}"/>
              </a:ext>
            </a:extLst>
          </p:cNvPr>
          <p:cNvSpPr txBox="1"/>
          <p:nvPr/>
        </p:nvSpPr>
        <p:spPr>
          <a:xfrm>
            <a:off x="7581899" y="2369352"/>
            <a:ext cx="2267040" cy="276999"/>
          </a:xfrm>
          <a:prstGeom prst="rect">
            <a:avLst/>
          </a:prstGeom>
          <a:noFill/>
          <a:ln>
            <a:noFill/>
          </a:ln>
        </p:spPr>
        <p:txBody>
          <a:bodyPr wrap="square">
            <a:spAutoFit/>
          </a:bodyPr>
          <a:lstStyle/>
          <a:p>
            <a:pPr algn="ctr"/>
            <a:r>
              <a:rPr lang="en-US" sz="1200" b="1" dirty="0">
                <a:solidFill>
                  <a:schemeClr val="tx2"/>
                </a:solidFill>
              </a:rPr>
              <a:t>ALGORITHM</a:t>
            </a:r>
          </a:p>
        </p:txBody>
      </p:sp>
      <p:grpSp>
        <p:nvGrpSpPr>
          <p:cNvPr id="31" name="Group 30">
            <a:extLst>
              <a:ext uri="{FF2B5EF4-FFF2-40B4-BE49-F238E27FC236}">
                <a16:creationId xmlns:a16="http://schemas.microsoft.com/office/drawing/2014/main" id="{5023B57A-371C-400C-ADA2-F1CD570C07AB}"/>
              </a:ext>
            </a:extLst>
          </p:cNvPr>
          <p:cNvGrpSpPr/>
          <p:nvPr/>
        </p:nvGrpSpPr>
        <p:grpSpPr>
          <a:xfrm>
            <a:off x="8083016" y="3151294"/>
            <a:ext cx="1371600" cy="709709"/>
            <a:chOff x="8073293" y="2953297"/>
            <a:chExt cx="1371600" cy="709709"/>
          </a:xfrm>
        </p:grpSpPr>
        <p:sp>
          <p:nvSpPr>
            <p:cNvPr id="17" name="Rectangle 16">
              <a:extLst>
                <a:ext uri="{FF2B5EF4-FFF2-40B4-BE49-F238E27FC236}">
                  <a16:creationId xmlns:a16="http://schemas.microsoft.com/office/drawing/2014/main" id="{E087C090-5BB2-459F-850D-5F78359E1809}"/>
                </a:ext>
              </a:extLst>
            </p:cNvPr>
            <p:cNvSpPr/>
            <p:nvPr/>
          </p:nvSpPr>
          <p:spPr>
            <a:xfrm>
              <a:off x="8297261" y="2953297"/>
              <a:ext cx="913414" cy="709709"/>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5" name="TextBox 24">
              <a:extLst>
                <a:ext uri="{FF2B5EF4-FFF2-40B4-BE49-F238E27FC236}">
                  <a16:creationId xmlns:a16="http://schemas.microsoft.com/office/drawing/2014/main" id="{1D839621-3437-498D-A10B-9499626CD1BE}"/>
                </a:ext>
              </a:extLst>
            </p:cNvPr>
            <p:cNvSpPr txBox="1"/>
            <p:nvPr/>
          </p:nvSpPr>
          <p:spPr>
            <a:xfrm>
              <a:off x="8073293" y="3092707"/>
              <a:ext cx="1371600" cy="369332"/>
            </a:xfrm>
            <a:prstGeom prst="rect">
              <a:avLst/>
            </a:prstGeom>
            <a:noFill/>
          </p:spPr>
          <p:txBody>
            <a:bodyPr wrap="square">
              <a:spAutoFit/>
            </a:bodyPr>
            <a:lstStyle/>
            <a:p>
              <a:pPr algn="ctr"/>
              <a:r>
                <a:rPr lang="en-US" sz="900" dirty="0"/>
                <a:t>TOPIC </a:t>
              </a:r>
            </a:p>
            <a:p>
              <a:pPr algn="ctr"/>
              <a:r>
                <a:rPr lang="en-US" sz="900" dirty="0"/>
                <a:t>MODELLING</a:t>
              </a:r>
            </a:p>
          </p:txBody>
        </p:sp>
      </p:grpSp>
      <p:grpSp>
        <p:nvGrpSpPr>
          <p:cNvPr id="30" name="Group 29">
            <a:extLst>
              <a:ext uri="{FF2B5EF4-FFF2-40B4-BE49-F238E27FC236}">
                <a16:creationId xmlns:a16="http://schemas.microsoft.com/office/drawing/2014/main" id="{793A9849-8F63-41B6-B9AE-90088D4A7F9B}"/>
              </a:ext>
            </a:extLst>
          </p:cNvPr>
          <p:cNvGrpSpPr/>
          <p:nvPr/>
        </p:nvGrpSpPr>
        <p:grpSpPr>
          <a:xfrm>
            <a:off x="8103485" y="4564905"/>
            <a:ext cx="1371600" cy="709709"/>
            <a:chOff x="8127589" y="4321636"/>
            <a:chExt cx="1371600" cy="709709"/>
          </a:xfrm>
        </p:grpSpPr>
        <p:sp>
          <p:nvSpPr>
            <p:cNvPr id="27" name="Rectangle 26">
              <a:extLst>
                <a:ext uri="{FF2B5EF4-FFF2-40B4-BE49-F238E27FC236}">
                  <a16:creationId xmlns:a16="http://schemas.microsoft.com/office/drawing/2014/main" id="{467E8A31-EAA5-4034-8BC1-FFA7D0C98509}"/>
                </a:ext>
              </a:extLst>
            </p:cNvPr>
            <p:cNvSpPr/>
            <p:nvPr/>
          </p:nvSpPr>
          <p:spPr>
            <a:xfrm>
              <a:off x="8351557" y="4321636"/>
              <a:ext cx="913414" cy="709709"/>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TextBox 27">
              <a:extLst>
                <a:ext uri="{FF2B5EF4-FFF2-40B4-BE49-F238E27FC236}">
                  <a16:creationId xmlns:a16="http://schemas.microsoft.com/office/drawing/2014/main" id="{BF350957-2128-48A2-A2AC-2D920B6D05E8}"/>
                </a:ext>
              </a:extLst>
            </p:cNvPr>
            <p:cNvSpPr txBox="1"/>
            <p:nvPr/>
          </p:nvSpPr>
          <p:spPr>
            <a:xfrm>
              <a:off x="8127589" y="4461046"/>
              <a:ext cx="1371600" cy="369332"/>
            </a:xfrm>
            <a:prstGeom prst="rect">
              <a:avLst/>
            </a:prstGeom>
            <a:noFill/>
          </p:spPr>
          <p:txBody>
            <a:bodyPr wrap="square">
              <a:spAutoFit/>
            </a:bodyPr>
            <a:lstStyle/>
            <a:p>
              <a:pPr algn="ctr"/>
              <a:r>
                <a:rPr lang="en-US" sz="900" dirty="0"/>
                <a:t>SENTIMENT ANALYSIS</a:t>
              </a:r>
            </a:p>
          </p:txBody>
        </p:sp>
      </p:grpSp>
      <p:sp>
        <p:nvSpPr>
          <p:cNvPr id="29" name="Rectangle 28">
            <a:extLst>
              <a:ext uri="{FF2B5EF4-FFF2-40B4-BE49-F238E27FC236}">
                <a16:creationId xmlns:a16="http://schemas.microsoft.com/office/drawing/2014/main" id="{46E2719A-07DF-4639-8474-2C80073D14EA}"/>
              </a:ext>
            </a:extLst>
          </p:cNvPr>
          <p:cNvSpPr/>
          <p:nvPr/>
        </p:nvSpPr>
        <p:spPr>
          <a:xfrm>
            <a:off x="6475313" y="2112807"/>
            <a:ext cx="1219109" cy="3781425"/>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Rectangle 1">
            <a:extLst>
              <a:ext uri="{FF2B5EF4-FFF2-40B4-BE49-F238E27FC236}">
                <a16:creationId xmlns:a16="http://schemas.microsoft.com/office/drawing/2014/main" id="{F8604D41-68BE-4211-8233-6D4316686401}"/>
              </a:ext>
            </a:extLst>
          </p:cNvPr>
          <p:cNvSpPr/>
          <p:nvPr/>
        </p:nvSpPr>
        <p:spPr>
          <a:xfrm>
            <a:off x="6572251" y="2209801"/>
            <a:ext cx="1009648" cy="533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ANNUAL</a:t>
            </a:r>
          </a:p>
          <a:p>
            <a:pPr algn="ctr"/>
            <a:r>
              <a:rPr lang="en-US" sz="1000" dirty="0">
                <a:solidFill>
                  <a:schemeClr val="bg2"/>
                </a:solidFill>
              </a:rPr>
              <a:t>REPORT</a:t>
            </a:r>
          </a:p>
        </p:txBody>
      </p:sp>
      <p:sp>
        <p:nvSpPr>
          <p:cNvPr id="12" name="Rectangle 11">
            <a:extLst>
              <a:ext uri="{FF2B5EF4-FFF2-40B4-BE49-F238E27FC236}">
                <a16:creationId xmlns:a16="http://schemas.microsoft.com/office/drawing/2014/main" id="{6B75CF96-155B-41DD-8565-C272FCA0868D}"/>
              </a:ext>
            </a:extLst>
          </p:cNvPr>
          <p:cNvSpPr/>
          <p:nvPr/>
        </p:nvSpPr>
        <p:spPr>
          <a:xfrm>
            <a:off x="6572251" y="2960216"/>
            <a:ext cx="1009649" cy="533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2"/>
                </a:solidFill>
              </a:rPr>
              <a:t>QUARTERLY TRANSCRIPT</a:t>
            </a:r>
          </a:p>
        </p:txBody>
      </p:sp>
      <p:sp>
        <p:nvSpPr>
          <p:cNvPr id="13" name="Rectangle 12">
            <a:extLst>
              <a:ext uri="{FF2B5EF4-FFF2-40B4-BE49-F238E27FC236}">
                <a16:creationId xmlns:a16="http://schemas.microsoft.com/office/drawing/2014/main" id="{9BC9AC38-35BA-47B8-8A18-85752ACE3852}"/>
              </a:ext>
            </a:extLst>
          </p:cNvPr>
          <p:cNvSpPr/>
          <p:nvPr/>
        </p:nvSpPr>
        <p:spPr>
          <a:xfrm>
            <a:off x="6572251" y="3710631"/>
            <a:ext cx="1009649" cy="533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2"/>
                </a:solidFill>
              </a:rPr>
              <a:t>QUATERLY RESULT</a:t>
            </a:r>
          </a:p>
        </p:txBody>
      </p:sp>
      <p:sp>
        <p:nvSpPr>
          <p:cNvPr id="14" name="Rectangle 13">
            <a:extLst>
              <a:ext uri="{FF2B5EF4-FFF2-40B4-BE49-F238E27FC236}">
                <a16:creationId xmlns:a16="http://schemas.microsoft.com/office/drawing/2014/main" id="{279C5380-C1CC-4F27-AD04-C814B379CF73}"/>
              </a:ext>
            </a:extLst>
          </p:cNvPr>
          <p:cNvSpPr/>
          <p:nvPr/>
        </p:nvSpPr>
        <p:spPr>
          <a:xfrm>
            <a:off x="6572251" y="4461046"/>
            <a:ext cx="1009649" cy="533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2"/>
                </a:solidFill>
              </a:rPr>
              <a:t>QUATERLY PRESS-RELEASE</a:t>
            </a:r>
          </a:p>
        </p:txBody>
      </p:sp>
      <p:sp>
        <p:nvSpPr>
          <p:cNvPr id="15" name="Rectangle 14">
            <a:extLst>
              <a:ext uri="{FF2B5EF4-FFF2-40B4-BE49-F238E27FC236}">
                <a16:creationId xmlns:a16="http://schemas.microsoft.com/office/drawing/2014/main" id="{92F47363-C8CB-46A1-9378-5054D61E99CD}"/>
              </a:ext>
            </a:extLst>
          </p:cNvPr>
          <p:cNvSpPr/>
          <p:nvPr/>
        </p:nvSpPr>
        <p:spPr>
          <a:xfrm>
            <a:off x="6572251" y="5211460"/>
            <a:ext cx="1009649" cy="533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bg2"/>
                </a:solidFill>
              </a:rPr>
              <a:t>S-1 FILINGS</a:t>
            </a:r>
          </a:p>
        </p:txBody>
      </p:sp>
      <p:cxnSp>
        <p:nvCxnSpPr>
          <p:cNvPr id="33" name="Straight Arrow Connector 32">
            <a:extLst>
              <a:ext uri="{FF2B5EF4-FFF2-40B4-BE49-F238E27FC236}">
                <a16:creationId xmlns:a16="http://schemas.microsoft.com/office/drawing/2014/main" id="{37D5ECFA-2BD6-40FA-A668-77684A8D1644}"/>
              </a:ext>
            </a:extLst>
          </p:cNvPr>
          <p:cNvCxnSpPr/>
          <p:nvPr/>
        </p:nvCxnSpPr>
        <p:spPr>
          <a:xfrm>
            <a:off x="7780147" y="4057650"/>
            <a:ext cx="2095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E47B4535-4C6C-4BA0-8129-97BE21F264C0}"/>
              </a:ext>
            </a:extLst>
          </p:cNvPr>
          <p:cNvCxnSpPr/>
          <p:nvPr/>
        </p:nvCxnSpPr>
        <p:spPr>
          <a:xfrm>
            <a:off x="9473189" y="2960216"/>
            <a:ext cx="4185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1C347E2-3A3E-495F-AFA8-C6763F6C9550}"/>
              </a:ext>
            </a:extLst>
          </p:cNvPr>
          <p:cNvSpPr txBox="1"/>
          <p:nvPr/>
        </p:nvSpPr>
        <p:spPr>
          <a:xfrm>
            <a:off x="6800975" y="1804074"/>
            <a:ext cx="567784" cy="261610"/>
          </a:xfrm>
          <a:prstGeom prst="rect">
            <a:avLst/>
          </a:prstGeom>
          <a:noFill/>
        </p:spPr>
        <p:txBody>
          <a:bodyPr wrap="none" rtlCol="0">
            <a:spAutoFit/>
          </a:bodyPr>
          <a:lstStyle/>
          <a:p>
            <a:r>
              <a:rPr lang="en-US" sz="1100" dirty="0">
                <a:solidFill>
                  <a:schemeClr val="bg2"/>
                </a:solidFill>
              </a:rPr>
              <a:t>Inputs</a:t>
            </a:r>
          </a:p>
        </p:txBody>
      </p:sp>
      <p:sp>
        <p:nvSpPr>
          <p:cNvPr id="38" name="TextBox 37">
            <a:extLst>
              <a:ext uri="{FF2B5EF4-FFF2-40B4-BE49-F238E27FC236}">
                <a16:creationId xmlns:a16="http://schemas.microsoft.com/office/drawing/2014/main" id="{29AA60FE-9CD6-4660-9CA9-EABAFA3575E6}"/>
              </a:ext>
            </a:extLst>
          </p:cNvPr>
          <p:cNvSpPr txBox="1"/>
          <p:nvPr/>
        </p:nvSpPr>
        <p:spPr>
          <a:xfrm>
            <a:off x="10362545" y="1851197"/>
            <a:ext cx="676788" cy="261610"/>
          </a:xfrm>
          <a:prstGeom prst="rect">
            <a:avLst/>
          </a:prstGeom>
          <a:noFill/>
        </p:spPr>
        <p:txBody>
          <a:bodyPr wrap="none" rtlCol="0">
            <a:spAutoFit/>
          </a:bodyPr>
          <a:lstStyle/>
          <a:p>
            <a:r>
              <a:rPr lang="en-US" sz="1100" dirty="0">
                <a:solidFill>
                  <a:schemeClr val="bg2"/>
                </a:solidFill>
              </a:rPr>
              <a:t>Outputs</a:t>
            </a:r>
          </a:p>
        </p:txBody>
      </p:sp>
      <p:sp>
        <p:nvSpPr>
          <p:cNvPr id="40" name="TextBox 39">
            <a:extLst>
              <a:ext uri="{FF2B5EF4-FFF2-40B4-BE49-F238E27FC236}">
                <a16:creationId xmlns:a16="http://schemas.microsoft.com/office/drawing/2014/main" id="{0904FA3D-0E75-44F0-8128-63751FD51780}"/>
              </a:ext>
            </a:extLst>
          </p:cNvPr>
          <p:cNvSpPr txBox="1"/>
          <p:nvPr/>
        </p:nvSpPr>
        <p:spPr>
          <a:xfrm>
            <a:off x="10017390" y="2507851"/>
            <a:ext cx="1608926" cy="1100301"/>
          </a:xfrm>
          <a:prstGeom prst="rect">
            <a:avLst/>
          </a:prstGeom>
          <a:solidFill>
            <a:schemeClr val="accent1">
              <a:lumMod val="20000"/>
              <a:lumOff val="80000"/>
            </a:schemeClr>
          </a:solidFill>
        </p:spPr>
        <p:txBody>
          <a:bodyPr wrap="square">
            <a:spAutoFit/>
          </a:bodyPr>
          <a:lstStyle/>
          <a:p>
            <a:pPr algn="ctr" fontAlgn="b"/>
            <a:r>
              <a:rPr lang="en-US" sz="1100" b="1" u="none" strike="noStrike" dirty="0">
                <a:effectLst/>
              </a:rPr>
              <a:t>WORD CLOUD</a:t>
            </a:r>
          </a:p>
          <a:p>
            <a:pPr algn="ctr" fontAlgn="b"/>
            <a:endParaRPr lang="en-US" sz="1100" u="none" strike="noStrike" dirty="0">
              <a:effectLst/>
            </a:endParaRPr>
          </a:p>
          <a:p>
            <a:pPr algn="ctr" fontAlgn="b"/>
            <a:r>
              <a:rPr lang="en-US" sz="1100" dirty="0"/>
              <a:t>BUSINESS</a:t>
            </a:r>
          </a:p>
          <a:p>
            <a:pPr algn="ctr" fontAlgn="b"/>
            <a:r>
              <a:rPr lang="en-US" sz="1100" u="none" strike="noStrike" dirty="0">
                <a:effectLst/>
              </a:rPr>
              <a:t>TECHNOLOGY</a:t>
            </a:r>
          </a:p>
          <a:p>
            <a:pPr algn="ctr" fontAlgn="b"/>
            <a:r>
              <a:rPr lang="en-US" sz="1050" b="0" i="0" dirty="0">
                <a:solidFill>
                  <a:srgbClr val="142235"/>
                </a:solidFill>
                <a:effectLst/>
                <a:latin typeface="+mj-lt"/>
              </a:rPr>
              <a:t>PORTFOLIO</a:t>
            </a:r>
            <a:endParaRPr lang="en-US" sz="1050" u="none" strike="noStrike" dirty="0">
              <a:effectLst/>
              <a:latin typeface="+mj-lt"/>
            </a:endParaRPr>
          </a:p>
          <a:p>
            <a:pPr algn="ctr" fontAlgn="b"/>
            <a:endParaRPr lang="en-US" sz="1100" b="0" i="0" u="none" strike="noStrike" dirty="0">
              <a:solidFill>
                <a:srgbClr val="000000"/>
              </a:solidFill>
              <a:effectLst/>
              <a:latin typeface="Calibri" panose="020F0502020204030204" pitchFamily="34" charset="0"/>
            </a:endParaRPr>
          </a:p>
        </p:txBody>
      </p:sp>
      <p:sp>
        <p:nvSpPr>
          <p:cNvPr id="42" name="TextBox 41">
            <a:extLst>
              <a:ext uri="{FF2B5EF4-FFF2-40B4-BE49-F238E27FC236}">
                <a16:creationId xmlns:a16="http://schemas.microsoft.com/office/drawing/2014/main" id="{6633670A-F612-47A0-B7F0-6C4A717C6A36}"/>
              </a:ext>
            </a:extLst>
          </p:cNvPr>
          <p:cNvSpPr txBox="1"/>
          <p:nvPr/>
        </p:nvSpPr>
        <p:spPr>
          <a:xfrm>
            <a:off x="10017390" y="4146419"/>
            <a:ext cx="1608926" cy="600164"/>
          </a:xfrm>
          <a:prstGeom prst="rect">
            <a:avLst/>
          </a:prstGeom>
          <a:solidFill>
            <a:schemeClr val="accent1">
              <a:lumMod val="20000"/>
              <a:lumOff val="80000"/>
            </a:schemeClr>
          </a:solidFill>
        </p:spPr>
        <p:txBody>
          <a:bodyPr wrap="square" anchor="ctr">
            <a:spAutoFit/>
          </a:bodyPr>
          <a:lstStyle/>
          <a:p>
            <a:pPr algn="ctr" fontAlgn="b"/>
            <a:endParaRPr lang="en-US" sz="1100" b="1" u="none" strike="noStrike" dirty="0">
              <a:effectLst/>
            </a:endParaRPr>
          </a:p>
          <a:p>
            <a:pPr algn="ctr" fontAlgn="b"/>
            <a:r>
              <a:rPr lang="en-US" sz="1100" b="1" u="none" strike="noStrike" dirty="0">
                <a:effectLst/>
              </a:rPr>
              <a:t>BU Level</a:t>
            </a:r>
            <a:endParaRPr lang="en-US" sz="1100" u="none" strike="noStrike" dirty="0">
              <a:effectLst/>
            </a:endParaRPr>
          </a:p>
          <a:p>
            <a:pPr algn="ctr" fontAlgn="b"/>
            <a:endParaRPr lang="en-US" sz="1100" b="0" i="0" u="none" strike="noStrike" dirty="0">
              <a:solidFill>
                <a:srgbClr val="000000"/>
              </a:solidFill>
              <a:effectLst/>
              <a:latin typeface="Calibri" panose="020F0502020204030204" pitchFamily="34" charset="0"/>
            </a:endParaRPr>
          </a:p>
        </p:txBody>
      </p:sp>
      <p:sp>
        <p:nvSpPr>
          <p:cNvPr id="43" name="TextBox 42">
            <a:extLst>
              <a:ext uri="{FF2B5EF4-FFF2-40B4-BE49-F238E27FC236}">
                <a16:creationId xmlns:a16="http://schemas.microsoft.com/office/drawing/2014/main" id="{80B1EBF1-42D6-4CE8-9F77-5CCD23C0FD62}"/>
              </a:ext>
            </a:extLst>
          </p:cNvPr>
          <p:cNvSpPr txBox="1"/>
          <p:nvPr/>
        </p:nvSpPr>
        <p:spPr>
          <a:xfrm>
            <a:off x="10017390" y="5018334"/>
            <a:ext cx="1608926" cy="600164"/>
          </a:xfrm>
          <a:prstGeom prst="rect">
            <a:avLst/>
          </a:prstGeom>
          <a:solidFill>
            <a:schemeClr val="accent1">
              <a:lumMod val="20000"/>
              <a:lumOff val="80000"/>
            </a:schemeClr>
          </a:solidFill>
        </p:spPr>
        <p:txBody>
          <a:bodyPr wrap="square" anchor="ctr">
            <a:spAutoFit/>
          </a:bodyPr>
          <a:lstStyle/>
          <a:p>
            <a:pPr algn="ctr" fontAlgn="b"/>
            <a:endParaRPr lang="en-US" sz="1100" b="1" u="none" strike="noStrike" dirty="0">
              <a:effectLst/>
            </a:endParaRPr>
          </a:p>
          <a:p>
            <a:pPr algn="ctr" fontAlgn="b"/>
            <a:r>
              <a:rPr lang="en-US" sz="1100" b="1" u="none" strike="noStrike" dirty="0">
                <a:effectLst/>
              </a:rPr>
              <a:t>PSL Level</a:t>
            </a:r>
            <a:endParaRPr lang="en-US" sz="1100" u="none" strike="noStrike" dirty="0">
              <a:effectLst/>
            </a:endParaRPr>
          </a:p>
          <a:p>
            <a:pPr algn="ctr" fontAlgn="b"/>
            <a:endParaRPr lang="en-US" sz="1100" b="0" i="0" u="none" strike="noStrike" dirty="0">
              <a:solidFill>
                <a:srgbClr val="000000"/>
              </a:solidFill>
              <a:effectLst/>
              <a:latin typeface="Calibri" panose="020F0502020204030204" pitchFamily="34" charset="0"/>
            </a:endParaRPr>
          </a:p>
        </p:txBody>
      </p:sp>
      <p:sp>
        <p:nvSpPr>
          <p:cNvPr id="44" name="Rectangle 43">
            <a:extLst>
              <a:ext uri="{FF2B5EF4-FFF2-40B4-BE49-F238E27FC236}">
                <a16:creationId xmlns:a16="http://schemas.microsoft.com/office/drawing/2014/main" id="{797B4FA6-5E63-4C8F-8D0A-B3E7FFDB163F}"/>
              </a:ext>
            </a:extLst>
          </p:cNvPr>
          <p:cNvSpPr/>
          <p:nvPr/>
        </p:nvSpPr>
        <p:spPr>
          <a:xfrm>
            <a:off x="9891780" y="2135116"/>
            <a:ext cx="1843020" cy="1575513"/>
          </a:xfrm>
          <a:prstGeom prst="rect">
            <a:avLst/>
          </a:prstGeom>
          <a:noFill/>
          <a:ln w="1905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FBDECA9F-E10F-424A-98F0-2A212E5BAE81}"/>
              </a:ext>
            </a:extLst>
          </p:cNvPr>
          <p:cNvSpPr/>
          <p:nvPr/>
        </p:nvSpPr>
        <p:spPr>
          <a:xfrm>
            <a:off x="9891780" y="3848987"/>
            <a:ext cx="1843020" cy="2045245"/>
          </a:xfrm>
          <a:prstGeom prst="rect">
            <a:avLst/>
          </a:prstGeom>
          <a:noFill/>
          <a:ln w="1905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7C0BCCD3-6EE7-4615-ACC3-5BE7CC92B94C}"/>
              </a:ext>
            </a:extLst>
          </p:cNvPr>
          <p:cNvSpPr/>
          <p:nvPr/>
        </p:nvSpPr>
        <p:spPr>
          <a:xfrm>
            <a:off x="9753600" y="0"/>
            <a:ext cx="2438400" cy="481373"/>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otential Cases</a:t>
            </a:r>
          </a:p>
        </p:txBody>
      </p:sp>
      <p:pic>
        <p:nvPicPr>
          <p:cNvPr id="6" name="Picture 5">
            <a:extLst>
              <a:ext uri="{FF2B5EF4-FFF2-40B4-BE49-F238E27FC236}">
                <a16:creationId xmlns:a16="http://schemas.microsoft.com/office/drawing/2014/main" id="{F5138729-784F-4600-BFCF-900EA53120EB}"/>
              </a:ext>
            </a:extLst>
          </p:cNvPr>
          <p:cNvPicPr>
            <a:picLocks noChangeAspect="1"/>
          </p:cNvPicPr>
          <p:nvPr/>
        </p:nvPicPr>
        <p:blipFill>
          <a:blip r:embed="rId3"/>
          <a:stretch>
            <a:fillRect/>
          </a:stretch>
        </p:blipFill>
        <p:spPr>
          <a:xfrm>
            <a:off x="1060665" y="4117645"/>
            <a:ext cx="3835185" cy="2034216"/>
          </a:xfrm>
          <a:prstGeom prst="rect">
            <a:avLst/>
          </a:prstGeom>
        </p:spPr>
      </p:pic>
    </p:spTree>
    <p:extLst>
      <p:ext uri="{BB962C8B-B14F-4D97-AF65-F5344CB8AC3E}">
        <p14:creationId xmlns:p14="http://schemas.microsoft.com/office/powerpoint/2010/main" val="14060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8EBEC-35D4-4F61-980B-C9F38507C0DF}"/>
              </a:ext>
            </a:extLst>
          </p:cNvPr>
          <p:cNvSpPr>
            <a:spLocks noGrp="1"/>
          </p:cNvSpPr>
          <p:nvPr>
            <p:ph type="title"/>
          </p:nvPr>
        </p:nvSpPr>
        <p:spPr>
          <a:xfrm>
            <a:off x="0" y="254725"/>
            <a:ext cx="11453940" cy="360000"/>
          </a:xfrm>
        </p:spPr>
        <p:txBody>
          <a:bodyPr/>
          <a:lstStyle/>
          <a:p>
            <a:r>
              <a:rPr lang="en-US" dirty="0"/>
              <a:t>Topic Modelling</a:t>
            </a:r>
          </a:p>
        </p:txBody>
      </p:sp>
      <p:sp>
        <p:nvSpPr>
          <p:cNvPr id="4" name="Slide Number Placeholder 3">
            <a:extLst>
              <a:ext uri="{FF2B5EF4-FFF2-40B4-BE49-F238E27FC236}">
                <a16:creationId xmlns:a16="http://schemas.microsoft.com/office/drawing/2014/main" id="{E39847D0-50C6-42B2-A3EE-003316D28AE0}"/>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US" smtClean="0"/>
              <a:t>2</a:t>
            </a:fld>
            <a:endParaRPr lang="en-US"/>
          </a:p>
        </p:txBody>
      </p:sp>
      <p:graphicFrame>
        <p:nvGraphicFramePr>
          <p:cNvPr id="5" name="Table 7">
            <a:extLst>
              <a:ext uri="{FF2B5EF4-FFF2-40B4-BE49-F238E27FC236}">
                <a16:creationId xmlns:a16="http://schemas.microsoft.com/office/drawing/2014/main" id="{875BB057-29B2-415D-9F45-C4D03CA4560C}"/>
              </a:ext>
            </a:extLst>
          </p:cNvPr>
          <p:cNvGraphicFramePr>
            <a:graphicFrameLocks noGrp="1"/>
          </p:cNvGraphicFramePr>
          <p:nvPr>
            <p:extLst>
              <p:ext uri="{D42A27DB-BD31-4B8C-83A1-F6EECF244321}">
                <p14:modId xmlns:p14="http://schemas.microsoft.com/office/powerpoint/2010/main" val="2197470464"/>
              </p:ext>
            </p:extLst>
          </p:nvPr>
        </p:nvGraphicFramePr>
        <p:xfrm>
          <a:off x="0" y="642575"/>
          <a:ext cx="12192000" cy="5860814"/>
        </p:xfrm>
        <a:graphic>
          <a:graphicData uri="http://schemas.openxmlformats.org/drawingml/2006/table">
            <a:tbl>
              <a:tblPr firstRow="1" bandRow="1">
                <a:tableStyleId>{00A15C55-8517-42AA-B614-E9B94910E393}</a:tableStyleId>
              </a:tblPr>
              <a:tblGrid>
                <a:gridCol w="1546284">
                  <a:extLst>
                    <a:ext uri="{9D8B030D-6E8A-4147-A177-3AD203B41FA5}">
                      <a16:colId xmlns:a16="http://schemas.microsoft.com/office/drawing/2014/main" val="4213557978"/>
                    </a:ext>
                  </a:extLst>
                </a:gridCol>
                <a:gridCol w="10645716">
                  <a:extLst>
                    <a:ext uri="{9D8B030D-6E8A-4147-A177-3AD203B41FA5}">
                      <a16:colId xmlns:a16="http://schemas.microsoft.com/office/drawing/2014/main" val="2436918362"/>
                    </a:ext>
                  </a:extLst>
                </a:gridCol>
              </a:tblGrid>
              <a:tr h="233792">
                <a:tc>
                  <a:txBody>
                    <a:bodyPr/>
                    <a:lstStyle/>
                    <a:p>
                      <a:pPr algn="l"/>
                      <a:r>
                        <a:rPr lang="en-US" sz="1100" b="1" dirty="0">
                          <a:latin typeface="+mj-lt"/>
                        </a:rPr>
                        <a:t>Topic</a:t>
                      </a:r>
                      <a:endParaRPr lang="en-US" sz="1100" b="1" dirty="0">
                        <a:latin typeface="+mj-lt"/>
                        <a:cs typeface="Calibri" panose="020F0502020204030204" pitchFamily="34" charset="0"/>
                      </a:endParaRPr>
                    </a:p>
                  </a:txBody>
                  <a:tcPr anchor="ctr"/>
                </a:tc>
                <a:tc>
                  <a:txBody>
                    <a:bodyPr/>
                    <a:lstStyle/>
                    <a:p>
                      <a:r>
                        <a:rPr lang="en-US" sz="1100" dirty="0">
                          <a:latin typeface="+mj-lt"/>
                        </a:rPr>
                        <a:t>Key Words</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2917935718"/>
                  </a:ext>
                </a:extLst>
              </a:tr>
              <a:tr h="389654">
                <a:tc>
                  <a:txBody>
                    <a:bodyPr/>
                    <a:lstStyle/>
                    <a:p>
                      <a:pPr algn="l"/>
                      <a:r>
                        <a:rPr lang="en-US" sz="1100" b="1" dirty="0">
                          <a:latin typeface="+mj-lt"/>
                        </a:rPr>
                        <a:t>Hiring</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a:latin typeface="+mj-lt"/>
                        </a:rPr>
                        <a:t>Jobs, Job posting, positions, tech talent, team, hiring, hire, job fair, recruit, graduate hire, graduate program, online job, planning to add, workers, employees, create jobs, virtual hire, to hire, remote job, new hires, to hire engineer, to recruit, to create, skills, workforce, training, skills, </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2816130547"/>
                  </a:ext>
                </a:extLst>
              </a:tr>
              <a:tr h="389654">
                <a:tc>
                  <a:txBody>
                    <a:bodyPr/>
                    <a:lstStyle/>
                    <a:p>
                      <a:pPr algn="l"/>
                      <a:r>
                        <a:rPr lang="en-US" sz="1100" b="1" dirty="0">
                          <a:latin typeface="+mj-lt"/>
                        </a:rPr>
                        <a:t>Layoff</a:t>
                      </a:r>
                      <a:endParaRPr lang="en-US" sz="1100" b="1" dirty="0">
                        <a:latin typeface="+mj-lt"/>
                        <a:cs typeface="Calibri" panose="020F0502020204030204" pitchFamily="34" charset="0"/>
                      </a:endParaRPr>
                    </a:p>
                  </a:txBody>
                  <a:tcPr anchor="ctr"/>
                </a:tc>
                <a:tc>
                  <a:txBody>
                    <a:bodyPr/>
                    <a:lstStyle/>
                    <a:p>
                      <a:r>
                        <a:rPr lang="en-US" sz="1100" dirty="0">
                          <a:latin typeface="+mj-lt"/>
                        </a:rPr>
                        <a:t>Layoff, laying off, fire, resign, to layoff, set to close, massive layoff, to cut, pay cut, slashing salaries, salary cut, pink slip, terminate, cut cost, eliminated jobs, mass layoff, job cut, cut jobs, axe job, job losses, cutting jobs, immediately cut jobs, </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2141101524"/>
                  </a:ext>
                </a:extLst>
              </a:tr>
              <a:tr h="233792">
                <a:tc>
                  <a:txBody>
                    <a:bodyPr/>
                    <a:lstStyle/>
                    <a:p>
                      <a:pPr algn="l"/>
                      <a:r>
                        <a:rPr lang="en-US" sz="1100" b="1" dirty="0">
                          <a:latin typeface="+mj-lt"/>
                        </a:rPr>
                        <a:t>CXO Movement</a:t>
                      </a:r>
                      <a:endParaRPr lang="en-US" sz="1100" b="1" dirty="0">
                        <a:latin typeface="+mj-lt"/>
                        <a:cs typeface="Calibri" panose="020F0502020204030204" pitchFamily="34" charset="0"/>
                      </a:endParaRPr>
                    </a:p>
                  </a:txBody>
                  <a:tcPr anchor="ctr"/>
                </a:tc>
                <a:tc>
                  <a:txBody>
                    <a:bodyPr/>
                    <a:lstStyle/>
                    <a:p>
                      <a:r>
                        <a:rPr lang="en-US" sz="1100" dirty="0">
                          <a:latin typeface="+mj-lt"/>
                        </a:rPr>
                        <a:t>has been appointed, appoints as, names as, joins, appointed as, change in director, join as head of, brings on, hires, to lead, names, to step down, </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143499155"/>
                  </a:ext>
                </a:extLst>
              </a:tr>
              <a:tr h="701377">
                <a:tc>
                  <a:txBody>
                    <a:bodyPr/>
                    <a:lstStyle/>
                    <a:p>
                      <a:pPr algn="l"/>
                      <a:r>
                        <a:rPr lang="en-US" sz="1100" b="1" dirty="0">
                          <a:latin typeface="+mj-lt"/>
                        </a:rPr>
                        <a:t>Expansion (BU, Geo, Stakeholder, Partner, Service Line, Function)</a:t>
                      </a:r>
                      <a:endParaRPr lang="en-US" sz="1100" b="1" dirty="0">
                        <a:latin typeface="+mj-lt"/>
                        <a:cs typeface="Calibri" panose="020F0502020204030204" pitchFamily="34" charset="0"/>
                      </a:endParaRPr>
                    </a:p>
                  </a:txBody>
                  <a:tcPr anchor="ctr"/>
                </a:tc>
                <a:tc>
                  <a:txBody>
                    <a:bodyPr/>
                    <a:lstStyle/>
                    <a:p>
                      <a:r>
                        <a:rPr lang="en-US" sz="1100" dirty="0">
                          <a:latin typeface="+mj-lt"/>
                        </a:rPr>
                        <a:t>Expands, to anchor new office, to invest, new fulfillment center, announces $mn expansion, double capacity, increase capacity, plans to build, to build a new center, unveils new R&amp;D facility, opens facility, breaks ground on acre park at center, opens store, begins construction, new office building, launches co-innovation space, investing $ million/billion to build a data center, to build tech campus, continues investment, sets up office, R&amp;D hub, pumps $bn, Opens R&amp;D Center, plans to open, renews square foot, </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2333185654"/>
                  </a:ext>
                </a:extLst>
              </a:tr>
              <a:tr h="389654">
                <a:tc>
                  <a:txBody>
                    <a:bodyPr/>
                    <a:lstStyle/>
                    <a:p>
                      <a:pPr algn="l"/>
                      <a:r>
                        <a:rPr lang="en-US" sz="1100" b="1" dirty="0">
                          <a:latin typeface="+mj-lt"/>
                        </a:rPr>
                        <a:t>Fundraise and Investments</a:t>
                      </a:r>
                      <a:endParaRPr lang="en-US" sz="1100" b="1" dirty="0">
                        <a:latin typeface="+mj-lt"/>
                        <a:cs typeface="Calibri" panose="020F0502020204030204" pitchFamily="34" charset="0"/>
                      </a:endParaRPr>
                    </a:p>
                  </a:txBody>
                  <a:tcPr anchor="ctr"/>
                </a:tc>
                <a:tc>
                  <a:txBody>
                    <a:bodyPr/>
                    <a:lstStyle/>
                    <a:p>
                      <a:r>
                        <a:rPr lang="en-US" sz="1100" dirty="0">
                          <a:latin typeface="+mj-lt"/>
                        </a:rPr>
                        <a:t>to invest, raises $million, to invest $mn, secures $million in seed funding, unicorn, pumps $million, gets $million, series A,B, C, D..E round, raise fund</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3461199895"/>
                  </a:ext>
                </a:extLst>
              </a:tr>
              <a:tr h="545516">
                <a:tc>
                  <a:txBody>
                    <a:bodyPr/>
                    <a:lstStyle/>
                    <a:p>
                      <a:pPr algn="l"/>
                      <a:r>
                        <a:rPr lang="en-US" sz="1100" b="1" dirty="0">
                          <a:latin typeface="+mj-lt"/>
                        </a:rPr>
                        <a:t>M&amp;A</a:t>
                      </a:r>
                      <a:endParaRPr lang="en-US" sz="1100" b="1" dirty="0">
                        <a:latin typeface="+mj-lt"/>
                        <a:cs typeface="Calibri" panose="020F0502020204030204" pitchFamily="34" charset="0"/>
                      </a:endParaRPr>
                    </a:p>
                  </a:txBody>
                  <a:tcPr anchor="ctr"/>
                </a:tc>
                <a:tc>
                  <a:txBody>
                    <a:bodyPr/>
                    <a:lstStyle/>
                    <a:p>
                      <a:r>
                        <a:rPr lang="en-US" sz="1100" dirty="0">
                          <a:latin typeface="+mj-lt"/>
                        </a:rPr>
                        <a:t>to sell, to buy, to acquire , sells its subsidiary, announces sale of, announces acquisition, Adds to, buys, to buy, signs deal, acquires, buy of, bolsters, announces completion of the acquisition, % stake, signs agreement to acquire, Paid $Million, agrees to acquire, spinoff, joint venture, JV, Partnership, alliances, collaboration, acquired, acquire, acquisition, Completes Acquisition, Plan to Acquire, Set To Acquire, buys, </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3290809756"/>
                  </a:ext>
                </a:extLst>
              </a:tr>
              <a:tr h="389654">
                <a:tc>
                  <a:txBody>
                    <a:bodyPr/>
                    <a:lstStyle/>
                    <a:p>
                      <a:pPr algn="l"/>
                      <a:r>
                        <a:rPr lang="en-US" sz="1100" b="1" dirty="0">
                          <a:latin typeface="+mj-lt"/>
                        </a:rPr>
                        <a:t>Partnership</a:t>
                      </a:r>
                      <a:endParaRPr lang="en-US" sz="1100" b="1" dirty="0">
                        <a:latin typeface="+mj-lt"/>
                        <a:cs typeface="Calibri" panose="020F0502020204030204" pitchFamily="34" charset="0"/>
                      </a:endParaRPr>
                    </a:p>
                  </a:txBody>
                  <a:tcPr anchor="ctr"/>
                </a:tc>
                <a:tc>
                  <a:txBody>
                    <a:bodyPr/>
                    <a:lstStyle/>
                    <a:p>
                      <a:r>
                        <a:rPr lang="en-US" sz="1100" dirty="0">
                          <a:latin typeface="+mj-lt"/>
                        </a:rPr>
                        <a:t> joint venture, announces collaboration, partners launch, partnership agreement, team up, joins forces, Collaborates, Partners, Expands Strategic Collaboration, </a:t>
                      </a:r>
                      <a:endParaRPr lang="en-US" sz="1100" dirty="0">
                        <a:latin typeface="+mj-lt"/>
                        <a:cs typeface="Calibri" panose="020F0502020204030204" pitchFamily="34" charset="0"/>
                      </a:endParaRPr>
                    </a:p>
                  </a:txBody>
                  <a:tcPr anchor="ctr"/>
                </a:tc>
                <a:extLst>
                  <a:ext uri="{0D108BD9-81ED-4DB2-BD59-A6C34878D82A}">
                    <a16:rowId xmlns:a16="http://schemas.microsoft.com/office/drawing/2014/main" val="3220253990"/>
                  </a:ext>
                </a:extLst>
              </a:tr>
              <a:tr h="389654">
                <a:tc>
                  <a:txBody>
                    <a:bodyPr/>
                    <a:lstStyle/>
                    <a:p>
                      <a:pPr algn="l"/>
                      <a:r>
                        <a:rPr lang="en-US" sz="1100" b="1" dirty="0">
                          <a:latin typeface="+mj-lt"/>
                        </a:rPr>
                        <a:t>Investments</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u="none" strike="noStrike" cap="none" dirty="0">
                          <a:solidFill>
                            <a:srgbClr val="000000"/>
                          </a:solidFill>
                          <a:effectLst/>
                          <a:latin typeface="+mj-lt"/>
                          <a:sym typeface="Arial"/>
                        </a:rPr>
                        <a:t>Investments in Technology (digital + New age), Investments in Platform, High investment on Products innovation, CX, Platform modernization, Other Investments (Mktg, Talent, Branding)</a:t>
                      </a: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3200212306"/>
                  </a:ext>
                </a:extLst>
              </a:tr>
              <a:tr h="233792">
                <a:tc>
                  <a:txBody>
                    <a:bodyPr/>
                    <a:lstStyle/>
                    <a:p>
                      <a:pPr algn="l"/>
                      <a:r>
                        <a:rPr lang="en-US" sz="1100" b="1" dirty="0">
                          <a:latin typeface="+mj-lt"/>
                        </a:rPr>
                        <a:t>Products/Portfolio</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u="none" strike="noStrike" cap="none" dirty="0">
                          <a:solidFill>
                            <a:srgbClr val="000000"/>
                          </a:solidFill>
                          <a:effectLst/>
                          <a:latin typeface="+mj-lt"/>
                          <a:sym typeface="Arial"/>
                        </a:rPr>
                        <a:t>New product launch, product recall, new product development, product modernization</a:t>
                      </a: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55685004"/>
                  </a:ext>
                </a:extLst>
              </a:tr>
              <a:tr h="233792">
                <a:tc>
                  <a:txBody>
                    <a:bodyPr/>
                    <a:lstStyle/>
                    <a:p>
                      <a:pPr algn="l"/>
                      <a:r>
                        <a:rPr lang="en-US" sz="1100" b="1" dirty="0">
                          <a:latin typeface="+mj-lt"/>
                        </a:rPr>
                        <a:t>CXO Commentary</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1708732581"/>
                  </a:ext>
                </a:extLst>
              </a:tr>
              <a:tr h="389654">
                <a:tc>
                  <a:txBody>
                    <a:bodyPr/>
                    <a:lstStyle/>
                    <a:p>
                      <a:pPr algn="l"/>
                      <a:r>
                        <a:rPr lang="en-US" sz="1100" b="1" dirty="0">
                          <a:latin typeface="+mj-lt"/>
                        </a:rPr>
                        <a:t>Regulatory Action</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u="none" strike="noStrike" cap="none" dirty="0">
                          <a:solidFill>
                            <a:srgbClr val="000000"/>
                          </a:solidFill>
                          <a:effectLst/>
                          <a:latin typeface="+mj-lt"/>
                          <a:sym typeface="Arial"/>
                        </a:rPr>
                        <a:t>Regulatory/ Compliance Issues, Company files required legal paperwork; Company has experienced legal difficulties; Company encounters problems with governing law; Company reports or is tied to security vulnerabilities</a:t>
                      </a: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3050023324"/>
                  </a:ext>
                </a:extLst>
              </a:tr>
              <a:tr h="233792">
                <a:tc>
                  <a:txBody>
                    <a:bodyPr/>
                    <a:lstStyle/>
                    <a:p>
                      <a:pPr algn="l"/>
                      <a:r>
                        <a:rPr lang="en-US" sz="1100" b="1" dirty="0">
                          <a:latin typeface="+mj-lt"/>
                        </a:rPr>
                        <a:t>Deals/Contracts</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u="none" strike="noStrike" cap="none" dirty="0">
                          <a:solidFill>
                            <a:srgbClr val="000000"/>
                          </a:solidFill>
                          <a:effectLst/>
                          <a:latin typeface="+mj-lt"/>
                          <a:sym typeface="Arial"/>
                        </a:rPr>
                        <a:t>Company announces they have landed a principal customer; Signed any big bet/ won a contracts/ won a major customer/ New Logos</a:t>
                      </a: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3995055877"/>
                  </a:ext>
                </a:extLst>
              </a:tr>
              <a:tr h="233792">
                <a:tc>
                  <a:txBody>
                    <a:bodyPr/>
                    <a:lstStyle/>
                    <a:p>
                      <a:pPr algn="l"/>
                      <a:r>
                        <a:rPr lang="en-US" sz="1100" b="1" dirty="0">
                          <a:latin typeface="+mj-lt"/>
                        </a:rPr>
                        <a:t>Competitor Scan</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u="none" strike="noStrike" cap="none" dirty="0">
                          <a:solidFill>
                            <a:srgbClr val="000000"/>
                          </a:solidFill>
                          <a:effectLst/>
                          <a:latin typeface="+mj-lt"/>
                          <a:sym typeface="Arial"/>
                        </a:rPr>
                        <a:t>Worked with any IT/IPPs software vendor, Tier-1, Tier-2 IT partner,</a:t>
                      </a: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2703585044"/>
                  </a:ext>
                </a:extLst>
              </a:tr>
              <a:tr h="389654">
                <a:tc>
                  <a:txBody>
                    <a:bodyPr/>
                    <a:lstStyle/>
                    <a:p>
                      <a:pPr algn="l"/>
                      <a:r>
                        <a:rPr lang="en-US" sz="1100" b="1" dirty="0">
                          <a:latin typeface="+mj-lt"/>
                        </a:rPr>
                        <a:t>Business Restructuring</a:t>
                      </a:r>
                      <a:endParaRPr lang="en-US" sz="1100" b="1" dirty="0">
                        <a:latin typeface="+mj-lt"/>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u="none" strike="noStrike" cap="none" dirty="0">
                          <a:solidFill>
                            <a:srgbClr val="000000"/>
                          </a:solidFill>
                          <a:effectLst/>
                          <a:latin typeface="+mj-lt"/>
                          <a:sym typeface="Arial"/>
                        </a:rPr>
                        <a:t>Any changes in business model, BU/SBU, new movement in CXO, strategy, Vision</a:t>
                      </a:r>
                      <a:endParaRPr lang="en-US" sz="1100" b="0" i="0" u="none" strike="noStrike" cap="none" dirty="0">
                        <a:solidFill>
                          <a:srgbClr val="000000"/>
                        </a:solidFill>
                        <a:effectLst/>
                        <a:latin typeface="+mj-lt"/>
                        <a:ea typeface="+mn-ea"/>
                        <a:cs typeface="Calibri" panose="020F0502020204030204" pitchFamily="34" charset="0"/>
                        <a:sym typeface="Arial"/>
                      </a:endParaRPr>
                    </a:p>
                  </a:txBody>
                  <a:tcPr anchor="ctr"/>
                </a:tc>
                <a:extLst>
                  <a:ext uri="{0D108BD9-81ED-4DB2-BD59-A6C34878D82A}">
                    <a16:rowId xmlns:a16="http://schemas.microsoft.com/office/drawing/2014/main" val="3754986978"/>
                  </a:ext>
                </a:extLst>
              </a:tr>
            </a:tbl>
          </a:graphicData>
        </a:graphic>
      </p:graphicFrame>
    </p:spTree>
    <p:extLst>
      <p:ext uri="{BB962C8B-B14F-4D97-AF65-F5344CB8AC3E}">
        <p14:creationId xmlns:p14="http://schemas.microsoft.com/office/powerpoint/2010/main" val="333056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7037&quot;&gt;&lt;version val=&quot;308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Grey Master">
  <a:themeElements>
    <a:clrScheme name="Custom 2">
      <a:dk1>
        <a:srgbClr val="231E28"/>
      </a:dk1>
      <a:lt1>
        <a:srgbClr val="EEEEEE"/>
      </a:lt1>
      <a:dk2>
        <a:srgbClr val="4E4B54"/>
      </a:dk2>
      <a:lt2>
        <a:srgbClr val="FFFFFF"/>
      </a:lt2>
      <a:accent1>
        <a:srgbClr val="FD5F07"/>
      </a:accent1>
      <a:accent2>
        <a:srgbClr val="00ADC6"/>
      </a:accent2>
      <a:accent3>
        <a:srgbClr val="F5AE45"/>
      </a:accent3>
      <a:accent4>
        <a:srgbClr val="4D4D4D"/>
      </a:accent4>
      <a:accent5>
        <a:srgbClr val="79787F"/>
      </a:accent5>
      <a:accent6>
        <a:srgbClr val="FD7F38"/>
      </a:accent6>
      <a:hlink>
        <a:srgbClr val="FD5F07"/>
      </a:hlink>
      <a:folHlink>
        <a:srgbClr val="FD5F0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ter Dark">
  <a:themeElements>
    <a:clrScheme name="Custom 1">
      <a:dk1>
        <a:srgbClr val="231E28"/>
      </a:dk1>
      <a:lt1>
        <a:srgbClr val="EEEEEE"/>
      </a:lt1>
      <a:dk2>
        <a:srgbClr val="4E4B54"/>
      </a:dk2>
      <a:lt2>
        <a:srgbClr val="FFFFFF"/>
      </a:lt2>
      <a:accent1>
        <a:srgbClr val="FD5F07"/>
      </a:accent1>
      <a:accent2>
        <a:srgbClr val="00ADC6"/>
      </a:accent2>
      <a:accent3>
        <a:srgbClr val="F5AE45"/>
      </a:accent3>
      <a:accent4>
        <a:srgbClr val="4FCAC4"/>
      </a:accent4>
      <a:accent5>
        <a:srgbClr val="FF8279"/>
      </a:accent5>
      <a:accent6>
        <a:srgbClr val="9BD480"/>
      </a:accent6>
      <a:hlink>
        <a:srgbClr val="FD5F07"/>
      </a:hlink>
      <a:folHlink>
        <a:srgbClr val="FD5F0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7077A412-10A4-4E2D-8C16-DA1CFFE5ECEB}" vid="{F5F96BDD-6DEB-4EEB-BAB5-FDA90D940A1D}"/>
    </a:ext>
  </a:extLst>
</a:theme>
</file>

<file path=ppt/theme/theme3.xml><?xml version="1.0" encoding="utf-8"?>
<a:theme xmlns:a="http://schemas.openxmlformats.org/drawingml/2006/main" name="1_Master Dark">
  <a:themeElements>
    <a:clrScheme name="Custom 1">
      <a:dk1>
        <a:srgbClr val="231E28"/>
      </a:dk1>
      <a:lt1>
        <a:srgbClr val="EEEEEE"/>
      </a:lt1>
      <a:dk2>
        <a:srgbClr val="4E4B54"/>
      </a:dk2>
      <a:lt2>
        <a:srgbClr val="FFFFFF"/>
      </a:lt2>
      <a:accent1>
        <a:srgbClr val="FD5F07"/>
      </a:accent1>
      <a:accent2>
        <a:srgbClr val="00ADC6"/>
      </a:accent2>
      <a:accent3>
        <a:srgbClr val="F5AE45"/>
      </a:accent3>
      <a:accent4>
        <a:srgbClr val="4FCAC4"/>
      </a:accent4>
      <a:accent5>
        <a:srgbClr val="FF8279"/>
      </a:accent5>
      <a:accent6>
        <a:srgbClr val="9BD480"/>
      </a:accent6>
      <a:hlink>
        <a:srgbClr val="FD5F07"/>
      </a:hlink>
      <a:folHlink>
        <a:srgbClr val="FD5F0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rsistent Powerpoint Template August 2021" id="{CCF02153-813D-4178-B650-38778B52A079}" vid="{3A4E0CBF-F273-4F58-9BC1-E9A82AF38D4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FA0B5569B3CB4BA98F341F330EC228" ma:contentTypeVersion="2" ma:contentTypeDescription="Create a new document." ma:contentTypeScope="" ma:versionID="a3bc8011817f84f599bde80d5e9f6f17">
  <xsd:schema xmlns:xsd="http://www.w3.org/2001/XMLSchema" xmlns:xs="http://www.w3.org/2001/XMLSchema" xmlns:p="http://schemas.microsoft.com/office/2006/metadata/properties" xmlns:ns2="1f0c84f4-2acf-4558-a0e3-356d4c0910d5" targetNamespace="http://schemas.microsoft.com/office/2006/metadata/properties" ma:root="true" ma:fieldsID="c46b1cdc934572a714aa3e0a473c1171" ns2:_="">
    <xsd:import namespace="1f0c84f4-2acf-4558-a0e3-356d4c0910d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0c84f4-2acf-4558-a0e3-356d4c0910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29D7059-050B-4CDB-ABF6-D9265B4D6D80}">
  <ds:schemaRefs>
    <ds:schemaRef ds:uri="http://schemas.microsoft.com/sharepoint/v3/contenttype/forms"/>
  </ds:schemaRefs>
</ds:datastoreItem>
</file>

<file path=customXml/itemProps2.xml><?xml version="1.0" encoding="utf-8"?>
<ds:datastoreItem xmlns:ds="http://schemas.openxmlformats.org/officeDocument/2006/customXml" ds:itemID="{0AE315A4-FC87-442B-9CA4-55BAC3535542}"/>
</file>

<file path=customXml/itemProps3.xml><?xml version="1.0" encoding="utf-8"?>
<ds:datastoreItem xmlns:ds="http://schemas.openxmlformats.org/officeDocument/2006/customXml" ds:itemID="{7552B8AD-812A-4C05-AB26-D27381E72A9C}">
  <ds:schemaRefs>
    <ds:schemaRef ds:uri="0b987254-d3d3-4fe9-a3c4-ec3c02bfb6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1015</TotalTime>
  <Words>808</Words>
  <Application>Microsoft Macintosh PowerPoint</Application>
  <PresentationFormat>Widescreen</PresentationFormat>
  <Paragraphs>67</Paragraphs>
  <Slides>2</Slides>
  <Notes>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4" baseType="lpstr">
      <vt:lpstr>Arial</vt:lpstr>
      <vt:lpstr>Arial Black</vt:lpstr>
      <vt:lpstr>Calibri</vt:lpstr>
      <vt:lpstr>NTR</vt:lpstr>
      <vt:lpstr>Open Sans</vt:lpstr>
      <vt:lpstr>Segoe UI</vt:lpstr>
      <vt:lpstr>source_sans_prolight</vt:lpstr>
      <vt:lpstr>System Font Regular</vt:lpstr>
      <vt:lpstr>1_Grey Master</vt:lpstr>
      <vt:lpstr>Master Dark</vt:lpstr>
      <vt:lpstr>1_Master Dark</vt:lpstr>
      <vt:lpstr>think-cell Slide</vt:lpstr>
      <vt:lpstr>PowerPoint Presentation</vt:lpstr>
      <vt:lpstr>Topic Modell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vik Bhattacharya</dc:creator>
  <cp:lastModifiedBy>Aashis Tiwari</cp:lastModifiedBy>
  <cp:revision>444</cp:revision>
  <dcterms:created xsi:type="dcterms:W3CDTF">2021-03-10T12:33:12Z</dcterms:created>
  <dcterms:modified xsi:type="dcterms:W3CDTF">2022-09-12T13:4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0277106162FD458C5C133AE9AEE315</vt:lpwstr>
  </property>
</Properties>
</file>